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920" r:id="rId5"/>
    <p:sldMasterId id="2147483976" r:id="rId6"/>
  </p:sldMasterIdLst>
  <p:notesMasterIdLst>
    <p:notesMasterId r:id="rId17"/>
  </p:notesMasterIdLst>
  <p:sldIdLst>
    <p:sldId id="2147477720" r:id="rId7"/>
    <p:sldId id="2147477737" r:id="rId8"/>
    <p:sldId id="2147477729" r:id="rId9"/>
    <p:sldId id="2147477731" r:id="rId10"/>
    <p:sldId id="2147477732" r:id="rId11"/>
    <p:sldId id="2147477733" r:id="rId12"/>
    <p:sldId id="2147477734" r:id="rId13"/>
    <p:sldId id="2147477735" r:id="rId14"/>
    <p:sldId id="2147477736" r:id="rId15"/>
    <p:sldId id="289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shinini, Zani: Absa" initials="MZA" lastIdx="1" clrIdx="0">
    <p:extLst>
      <p:ext uri="{19B8F6BF-5375-455C-9EA6-DF929625EA0E}">
        <p15:presenceInfo xmlns:p15="http://schemas.microsoft.com/office/powerpoint/2012/main" userId="S-1-5-21-114451664-1017779763-1228766249-233697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5ADC53B-35B0-4159-954C-C1495ACD50B4}" v="1" dt="2026-01-22T08:18:35.113"/>
  </p1510:revLst>
</p1510:revInfo>
</file>

<file path=ppt/tableStyles.xml><?xml version="1.0" encoding="utf-8"?>
<a:tblStyleLst xmlns:a="http://schemas.openxmlformats.org/drawingml/2006/main" def="{5C22544A-7EE6-4342-B048-85BDC9FD1C3A}"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7" d="100"/>
          <a:sy n="57" d="100"/>
        </p:scale>
        <p:origin x="194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D80719-6EC9-458F-9274-D06AFE8C4B05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2B4DC7-07BC-46F4-BEA7-A1F82EB3F6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6660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7200B1-83C2-6825-9242-16A259F093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0798E0A-0E4B-8B77-FD56-D535B4BFAE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0DDB17D-FA4B-EE50-C9C9-DBCB5A95E8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E7D5D0-9C55-AB51-85F1-357267375A1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2B4DC7-07BC-46F4-BEA7-A1F82EB3F6A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436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EB4C56-3197-0155-CBC9-E8AE9C5798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210A99-20D2-7C0B-D4FF-27B2B66F173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7EDA883-C2B7-257A-6197-585DD9AB29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59AD3C-2530-8D50-36F2-D4A07FFA4C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2B4DC7-07BC-46F4-BEA7-A1F82EB3F6A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1054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38BCCA-DB86-C4BF-55E4-41FC36E067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253881-7671-1A05-CDD3-014B34B6D9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0815B9-7434-AA3B-66EC-98391B5118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DD132A-E776-BB01-F92C-2AFBA49936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2B4DC7-07BC-46F4-BEA7-A1F82EB3F6A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4183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4D0112-7BA1-C6F3-7769-19B6AF3762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5309623-D11E-1ED0-4716-7C86F73FD9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2296A10-DF3B-42C7-823F-F1B5ED584F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50B397-B361-5284-9811-1DB3351F8E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2B4DC7-07BC-46F4-BEA7-A1F82EB3F6A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8867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694EE8-C60C-7BAF-10D9-3B49FFC5B0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F7F8FF-AF25-F4FA-0DCC-D339065ACD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1BBD761-0276-E1FC-32C3-D261105123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EAAE86-B086-70B7-211D-221A00ECA1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2B4DC7-07BC-46F4-BEA7-A1F82EB3F6A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34471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3064B7-95DE-59CE-AD8D-BD85C1F1DD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91516E-6600-89AD-E9C2-D17E3E2213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42C8A1A-95A6-ED19-1D49-D848A3639F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485D84-DE03-F917-1966-3AE0920AE7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2B4DC7-07BC-46F4-BEA7-A1F82EB3F6A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167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DB8806-6EA8-D574-07CB-BB01FBE813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169AA6-D1AA-7008-3CAE-53A05F33F5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AC90A3F-D5C8-76AF-FF36-D451D17E301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E07B9B-8FDB-28E8-D3F1-A22E389A7C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2B4DC7-07BC-46F4-BEA7-A1F82EB3F6A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2161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EEF4C7-EB01-7754-503E-89E2D953F2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3C50676-D62D-8BE6-D3EA-C4C4265F47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73C2E75-730A-8415-B4B3-A5D285A092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4BD7F3-5748-741D-E93C-688D152CBB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2B4DC7-07BC-46F4-BEA7-A1F82EB3F6A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3041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665908-53CC-9918-CF7C-A156C09F25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BF134C7-536C-C5CB-7948-B0086A0FAA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BB4E4B6-F977-5E72-8C89-F5094F211C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497243-C337-53D5-8DE1-0BFD3BFFA0F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2B4DC7-07BC-46F4-BEA7-A1F82EB3F6A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652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4" Type="http://schemas.openxmlformats.org/officeDocument/2006/relationships/image" Target="../media/image10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4" Type="http://schemas.openxmlformats.org/officeDocument/2006/relationships/image" Target="../media/image10.emf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7452024-AB94-4C0E-BCE3-7CD7FB801B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2078" t="18689" r="9535" b="17057"/>
          <a:stretch/>
        </p:blipFill>
        <p:spPr>
          <a:xfrm>
            <a:off x="996696" y="1341438"/>
            <a:ext cx="10415016" cy="4236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5442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 plum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8C26AD0A-B2DA-4BA8-971E-89A9C370B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49377" y="1520826"/>
            <a:ext cx="3893247" cy="3810079"/>
          </a:xfrm>
          <a:prstGeom prst="rect">
            <a:avLst/>
          </a:prstGeom>
        </p:spPr>
      </p:pic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F339E9A1-E807-4C8A-8D51-FE13692880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8" y="6129339"/>
            <a:ext cx="7166539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</p:spTree>
    <p:extLst>
      <p:ext uri="{BB962C8B-B14F-4D97-AF65-F5344CB8AC3E}">
        <p14:creationId xmlns:p14="http://schemas.microsoft.com/office/powerpoint/2010/main" val="408022393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B6A55B-B033-4473-A43F-A7525DE7E0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224971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8BA120-0BAE-4CC6-9DD1-36D771E3A5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4327895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B2D71D-5746-45BD-8A74-3C3CC5B4A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329894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E1983E-1EE5-4C76-80A6-1DE3F63F8E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780718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50322-7909-42B3-8827-ACD52383C4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167673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CBF560-C261-4042-B23E-3F21BC7E0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146132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BDBA7C-14AC-46DE-A979-CD90617240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512085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31D266-31CC-4918-BC3E-BFD749E3E7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4520414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BF51B4-893B-44ED-B4C9-3F5C69404F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972367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8420A5-121E-483F-89A9-283D2AE19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15944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 dark plum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8C26AD0A-B2DA-4BA8-971E-89A9C370B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49377" y="1520826"/>
            <a:ext cx="3893247" cy="3810079"/>
          </a:xfrm>
          <a:prstGeom prst="rect">
            <a:avLst/>
          </a:prstGeom>
        </p:spPr>
      </p:pic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88E13ABF-265D-4F81-9B5C-C36A394A06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8" y="6129339"/>
            <a:ext cx="7166539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</p:spTree>
    <p:extLst>
      <p:ext uri="{BB962C8B-B14F-4D97-AF65-F5344CB8AC3E}">
        <p14:creationId xmlns:p14="http://schemas.microsoft.com/office/powerpoint/2010/main" val="219739650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FD3B2E-2F8F-4503-8AD7-3F789AF34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776510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D770FE-AB11-4339-BDF1-E4A8A15DC1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651307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E787F3-44F0-4342-8613-5DA11A8C6C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280135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45B400-AF49-40C0-9E5C-FAD1A13AFD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3775742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7E513B-E394-4764-B543-15F26E8829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578639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B8273E-8020-44C3-94D7-112A05AE7E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562041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3077F-6D5B-4D3E-B02D-318FB3E2A4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790799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324B8E-BF0E-447D-B5EF-9BADF9C760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704010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923115-31FE-41DB-A9FE-A242D08A8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371167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pic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1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63F8DF2-10EE-4ED2-91AB-B7E3C37627A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58774" y="1449391"/>
            <a:ext cx="5486400" cy="1735137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5C1C585-F7B3-47D7-9F59-BA03B794FA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4" y="3184528"/>
            <a:ext cx="5486400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20808307-4B52-4775-B16F-1438C3DD8A8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3905253"/>
            <a:ext cx="5486400" cy="1735137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B44C7F4-FBFC-4ABE-9663-0758653A2B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4" y="5640390"/>
            <a:ext cx="5486400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AC1FF0E8-B389-485A-9664-2B27C4F1242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10300" y="1449391"/>
            <a:ext cx="5486400" cy="1735137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56107E15-62BB-43E5-A4C5-5177E6D466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0300" y="3184528"/>
            <a:ext cx="5486400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80B95727-A744-4D5C-BFFA-489C9098B7A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10300" y="3905253"/>
            <a:ext cx="5486400" cy="1735137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867AB062-BC9C-4B04-BA85-D3A8B1204D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0300" y="5640390"/>
            <a:ext cx="5486400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39232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55">
            <a:extLst>
              <a:ext uri="{FF2B5EF4-FFF2-40B4-BE49-F238E27FC236}">
                <a16:creationId xmlns:a16="http://schemas.microsoft.com/office/drawing/2014/main" id="{A54EE9ED-555A-421C-9860-24296AA2E2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49377" y="1520826"/>
            <a:ext cx="3893247" cy="3810079"/>
          </a:xfrm>
          <a:prstGeom prst="rect">
            <a:avLst/>
          </a:prstGeom>
        </p:spPr>
      </p:pic>
      <p:sp>
        <p:nvSpPr>
          <p:cNvPr id="55" name="Picture Placeholder 54">
            <a:extLst>
              <a:ext uri="{FF2B5EF4-FFF2-40B4-BE49-F238E27FC236}">
                <a16:creationId xmlns:a16="http://schemas.microsoft.com/office/drawing/2014/main" id="{6976B526-FD93-4C23-869B-BB2B5D96E36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" y="3"/>
            <a:ext cx="12070587" cy="6857999"/>
          </a:xfrm>
          <a:custGeom>
            <a:avLst/>
            <a:gdLst>
              <a:gd name="connsiteX0" fmla="*/ 5260554 w 12070587"/>
              <a:gd name="connsiteY0" fmla="*/ 3817761 h 6857999"/>
              <a:gd name="connsiteX1" fmla="*/ 5141205 w 12070587"/>
              <a:gd name="connsiteY1" fmla="*/ 3873467 h 6857999"/>
              <a:gd name="connsiteX2" fmla="*/ 6095999 w 12070587"/>
              <a:gd name="connsiteY2" fmla="*/ 4480984 h 6857999"/>
              <a:gd name="connsiteX3" fmla="*/ 7050793 w 12070587"/>
              <a:gd name="connsiteY3" fmla="*/ 3873467 h 6857999"/>
              <a:gd name="connsiteX4" fmla="*/ 6931444 w 12070587"/>
              <a:gd name="connsiteY4" fmla="*/ 3817761 h 6857999"/>
              <a:gd name="connsiteX5" fmla="*/ 6095999 w 12070587"/>
              <a:gd name="connsiteY5" fmla="*/ 4349257 h 6857999"/>
              <a:gd name="connsiteX6" fmla="*/ 5260554 w 12070587"/>
              <a:gd name="connsiteY6" fmla="*/ 3817761 h 6857999"/>
              <a:gd name="connsiteX7" fmla="*/ 6776333 w 12070587"/>
              <a:gd name="connsiteY7" fmla="*/ 3453639 h 6857999"/>
              <a:gd name="connsiteX8" fmla="*/ 6776333 w 12070587"/>
              <a:gd name="connsiteY8" fmla="*/ 3542161 h 6857999"/>
              <a:gd name="connsiteX9" fmla="*/ 6722332 w 12070587"/>
              <a:gd name="connsiteY9" fmla="*/ 3547407 h 6857999"/>
              <a:gd name="connsiteX10" fmla="*/ 6654502 w 12070587"/>
              <a:gd name="connsiteY10" fmla="*/ 3499540 h 6857999"/>
              <a:gd name="connsiteX11" fmla="*/ 6713771 w 12070587"/>
              <a:gd name="connsiteY11" fmla="*/ 3457573 h 6857999"/>
              <a:gd name="connsiteX12" fmla="*/ 6776333 w 12070587"/>
              <a:gd name="connsiteY12" fmla="*/ 3453639 h 6857999"/>
              <a:gd name="connsiteX13" fmla="*/ 5538180 w 12070587"/>
              <a:gd name="connsiteY13" fmla="*/ 3453639 h 6857999"/>
              <a:gd name="connsiteX14" fmla="*/ 5538180 w 12070587"/>
              <a:gd name="connsiteY14" fmla="*/ 3542161 h 6857999"/>
              <a:gd name="connsiteX15" fmla="*/ 5484484 w 12070587"/>
              <a:gd name="connsiteY15" fmla="*/ 3547407 h 6857999"/>
              <a:gd name="connsiteX16" fmla="*/ 5417035 w 12070587"/>
              <a:gd name="connsiteY16" fmla="*/ 3499540 h 6857999"/>
              <a:gd name="connsiteX17" fmla="*/ 5475971 w 12070587"/>
              <a:gd name="connsiteY17" fmla="*/ 3457573 h 6857999"/>
              <a:gd name="connsiteX18" fmla="*/ 5538180 w 12070587"/>
              <a:gd name="connsiteY18" fmla="*/ 3453639 h 6857999"/>
              <a:gd name="connsiteX19" fmla="*/ 5894018 w 12070587"/>
              <a:gd name="connsiteY19" fmla="*/ 3312645 h 6857999"/>
              <a:gd name="connsiteX20" fmla="*/ 5982382 w 12070587"/>
              <a:gd name="connsiteY20" fmla="*/ 3429000 h 6857999"/>
              <a:gd name="connsiteX21" fmla="*/ 5894018 w 12070587"/>
              <a:gd name="connsiteY21" fmla="*/ 3545355 h 6857999"/>
              <a:gd name="connsiteX22" fmla="*/ 5832490 w 12070587"/>
              <a:gd name="connsiteY22" fmla="*/ 3537510 h 6857999"/>
              <a:gd name="connsiteX23" fmla="*/ 5832490 w 12070587"/>
              <a:gd name="connsiteY23" fmla="*/ 3321143 h 6857999"/>
              <a:gd name="connsiteX24" fmla="*/ 5894018 w 12070587"/>
              <a:gd name="connsiteY24" fmla="*/ 3312645 h 6857999"/>
              <a:gd name="connsiteX25" fmla="*/ 6333667 w 12070587"/>
              <a:gd name="connsiteY25" fmla="*/ 3218877 h 6857999"/>
              <a:gd name="connsiteX26" fmla="*/ 6150070 w 12070587"/>
              <a:gd name="connsiteY26" fmla="*/ 3356340 h 6857999"/>
              <a:gd name="connsiteX27" fmla="*/ 6293669 w 12070587"/>
              <a:gd name="connsiteY27" fmla="*/ 3466965 h 6857999"/>
              <a:gd name="connsiteX28" fmla="*/ 6382190 w 12070587"/>
              <a:gd name="connsiteY28" fmla="*/ 3504931 h 6857999"/>
              <a:gd name="connsiteX29" fmla="*/ 6299571 w 12070587"/>
              <a:gd name="connsiteY29" fmla="*/ 3545516 h 6857999"/>
              <a:gd name="connsiteX30" fmla="*/ 6159250 w 12070587"/>
              <a:gd name="connsiteY30" fmla="*/ 3525224 h 6857999"/>
              <a:gd name="connsiteX31" fmla="*/ 6167774 w 12070587"/>
              <a:gd name="connsiteY31" fmla="*/ 3616212 h 6857999"/>
              <a:gd name="connsiteX32" fmla="*/ 6308095 w 12070587"/>
              <a:gd name="connsiteY32" fmla="*/ 3639122 h 6857999"/>
              <a:gd name="connsiteX33" fmla="*/ 6493659 w 12070587"/>
              <a:gd name="connsiteY33" fmla="*/ 3505586 h 6857999"/>
              <a:gd name="connsiteX34" fmla="*/ 6337602 w 12070587"/>
              <a:gd name="connsiteY34" fmla="*/ 3380560 h 6857999"/>
              <a:gd name="connsiteX35" fmla="*/ 6260884 w 12070587"/>
              <a:gd name="connsiteY35" fmla="*/ 3353067 h 6857999"/>
              <a:gd name="connsiteX36" fmla="*/ 6341536 w 12070587"/>
              <a:gd name="connsiteY36" fmla="*/ 3312482 h 6857999"/>
              <a:gd name="connsiteX37" fmla="*/ 6462841 w 12070587"/>
              <a:gd name="connsiteY37" fmla="*/ 3327539 h 6857999"/>
              <a:gd name="connsiteX38" fmla="*/ 6454317 w 12070587"/>
              <a:gd name="connsiteY38" fmla="*/ 3237205 h 6857999"/>
              <a:gd name="connsiteX39" fmla="*/ 6333667 w 12070587"/>
              <a:gd name="connsiteY39" fmla="*/ 3218877 h 6857999"/>
              <a:gd name="connsiteX40" fmla="*/ 6707535 w 12070587"/>
              <a:gd name="connsiteY40" fmla="*/ 3218876 h 6857999"/>
              <a:gd name="connsiteX41" fmla="*/ 6582962 w 12070587"/>
              <a:gd name="connsiteY41" fmla="*/ 3237204 h 6857999"/>
              <a:gd name="connsiteX42" fmla="*/ 6574439 w 12070587"/>
              <a:gd name="connsiteY42" fmla="*/ 3327538 h 6857999"/>
              <a:gd name="connsiteX43" fmla="*/ 6695734 w 12070587"/>
              <a:gd name="connsiteY43" fmla="*/ 3312482 h 6857999"/>
              <a:gd name="connsiteX44" fmla="*/ 6776378 w 12070587"/>
              <a:gd name="connsiteY44" fmla="*/ 3363540 h 6857999"/>
              <a:gd name="connsiteX45" fmla="*/ 6776378 w 12070587"/>
              <a:gd name="connsiteY45" fmla="*/ 3376632 h 6857999"/>
              <a:gd name="connsiteX46" fmla="*/ 6699668 w 12070587"/>
              <a:gd name="connsiteY46" fmla="*/ 3380560 h 6857999"/>
              <a:gd name="connsiteX47" fmla="*/ 6543623 w 12070587"/>
              <a:gd name="connsiteY47" fmla="*/ 3505586 h 6857999"/>
              <a:gd name="connsiteX48" fmla="*/ 6719993 w 12070587"/>
              <a:gd name="connsiteY48" fmla="*/ 3639122 h 6857999"/>
              <a:gd name="connsiteX49" fmla="*/ 6886527 w 12070587"/>
              <a:gd name="connsiteY49" fmla="*/ 3611629 h 6857999"/>
              <a:gd name="connsiteX50" fmla="*/ 6886527 w 12070587"/>
              <a:gd name="connsiteY50" fmla="*/ 3356340 h 6857999"/>
              <a:gd name="connsiteX51" fmla="*/ 6707535 w 12070587"/>
              <a:gd name="connsiteY51" fmla="*/ 3218876 h 6857999"/>
              <a:gd name="connsiteX52" fmla="*/ 5469384 w 12070587"/>
              <a:gd name="connsiteY52" fmla="*/ 3218876 h 6857999"/>
              <a:gd name="connsiteX53" fmla="*/ 5344810 w 12070587"/>
              <a:gd name="connsiteY53" fmla="*/ 3237204 h 6857999"/>
              <a:gd name="connsiteX54" fmla="*/ 5336287 w 12070587"/>
              <a:gd name="connsiteY54" fmla="*/ 3327538 h 6857999"/>
              <a:gd name="connsiteX55" fmla="*/ 5457582 w 12070587"/>
              <a:gd name="connsiteY55" fmla="*/ 3312482 h 6857999"/>
              <a:gd name="connsiteX56" fmla="*/ 5538226 w 12070587"/>
              <a:gd name="connsiteY56" fmla="*/ 3363540 h 6857999"/>
              <a:gd name="connsiteX57" fmla="*/ 5538226 w 12070587"/>
              <a:gd name="connsiteY57" fmla="*/ 3376632 h 6857999"/>
              <a:gd name="connsiteX58" fmla="*/ 5461516 w 12070587"/>
              <a:gd name="connsiteY58" fmla="*/ 3380560 h 6857999"/>
              <a:gd name="connsiteX59" fmla="*/ 5305471 w 12070587"/>
              <a:gd name="connsiteY59" fmla="*/ 3505586 h 6857999"/>
              <a:gd name="connsiteX60" fmla="*/ 5481841 w 12070587"/>
              <a:gd name="connsiteY60" fmla="*/ 3639122 h 6857999"/>
              <a:gd name="connsiteX61" fmla="*/ 5648375 w 12070587"/>
              <a:gd name="connsiteY61" fmla="*/ 3611629 h 6857999"/>
              <a:gd name="connsiteX62" fmla="*/ 5648375 w 12070587"/>
              <a:gd name="connsiteY62" fmla="*/ 3356340 h 6857999"/>
              <a:gd name="connsiteX63" fmla="*/ 5469384 w 12070587"/>
              <a:gd name="connsiteY63" fmla="*/ 3218876 h 6857999"/>
              <a:gd name="connsiteX64" fmla="*/ 7085757 w 12070587"/>
              <a:gd name="connsiteY64" fmla="*/ 3068984 h 6857999"/>
              <a:gd name="connsiteX65" fmla="*/ 6962500 w 12070587"/>
              <a:gd name="connsiteY65" fmla="*/ 3114149 h 6857999"/>
              <a:gd name="connsiteX66" fmla="*/ 7017572 w 12070587"/>
              <a:gd name="connsiteY66" fmla="*/ 3428999 h 6857999"/>
              <a:gd name="connsiteX67" fmla="*/ 6962500 w 12070587"/>
              <a:gd name="connsiteY67" fmla="*/ 3743849 h 6857999"/>
              <a:gd name="connsiteX68" fmla="*/ 7085757 w 12070587"/>
              <a:gd name="connsiteY68" fmla="*/ 3789014 h 6857999"/>
              <a:gd name="connsiteX69" fmla="*/ 7149352 w 12070587"/>
              <a:gd name="connsiteY69" fmla="*/ 3428999 h 6857999"/>
              <a:gd name="connsiteX70" fmla="*/ 7085757 w 12070587"/>
              <a:gd name="connsiteY70" fmla="*/ 3068984 h 6857999"/>
              <a:gd name="connsiteX71" fmla="*/ 5106241 w 12070587"/>
              <a:gd name="connsiteY71" fmla="*/ 3068984 h 6857999"/>
              <a:gd name="connsiteX72" fmla="*/ 5042647 w 12070587"/>
              <a:gd name="connsiteY72" fmla="*/ 3428999 h 6857999"/>
              <a:gd name="connsiteX73" fmla="*/ 5106241 w 12070587"/>
              <a:gd name="connsiteY73" fmla="*/ 3789014 h 6857999"/>
              <a:gd name="connsiteX74" fmla="*/ 5229499 w 12070587"/>
              <a:gd name="connsiteY74" fmla="*/ 3743849 h 6857999"/>
              <a:gd name="connsiteX75" fmla="*/ 5174427 w 12070587"/>
              <a:gd name="connsiteY75" fmla="*/ 3428999 h 6857999"/>
              <a:gd name="connsiteX76" fmla="*/ 5229499 w 12070587"/>
              <a:gd name="connsiteY76" fmla="*/ 3114149 h 6857999"/>
              <a:gd name="connsiteX77" fmla="*/ 5106241 w 12070587"/>
              <a:gd name="connsiteY77" fmla="*/ 3068984 h 6857999"/>
              <a:gd name="connsiteX78" fmla="*/ 5832460 w 12070587"/>
              <a:gd name="connsiteY78" fmla="*/ 3008753 h 6857999"/>
              <a:gd name="connsiteX79" fmla="*/ 5722979 w 12070587"/>
              <a:gd name="connsiteY79" fmla="*/ 3020537 h 6857999"/>
              <a:gd name="connsiteX80" fmla="*/ 5722979 w 12070587"/>
              <a:gd name="connsiteY80" fmla="*/ 3611630 h 6857999"/>
              <a:gd name="connsiteX81" fmla="*/ 5885561 w 12070587"/>
              <a:gd name="connsiteY81" fmla="*/ 3639123 h 6857999"/>
              <a:gd name="connsiteX82" fmla="*/ 6095999 w 12070587"/>
              <a:gd name="connsiteY82" fmla="*/ 3429000 h 6857999"/>
              <a:gd name="connsiteX83" fmla="*/ 5911784 w 12070587"/>
              <a:gd name="connsiteY83" fmla="*/ 3218877 h 6857999"/>
              <a:gd name="connsiteX84" fmla="*/ 5832460 w 12070587"/>
              <a:gd name="connsiteY84" fmla="*/ 3228696 h 6857999"/>
              <a:gd name="connsiteX85" fmla="*/ 5832460 w 12070587"/>
              <a:gd name="connsiteY85" fmla="*/ 3008753 h 6857999"/>
              <a:gd name="connsiteX86" fmla="*/ 6095999 w 12070587"/>
              <a:gd name="connsiteY86" fmla="*/ 2377015 h 6857999"/>
              <a:gd name="connsiteX87" fmla="*/ 5141205 w 12070587"/>
              <a:gd name="connsiteY87" fmla="*/ 2984532 h 6857999"/>
              <a:gd name="connsiteX88" fmla="*/ 5260555 w 12070587"/>
              <a:gd name="connsiteY88" fmla="*/ 3040238 h 6857999"/>
              <a:gd name="connsiteX89" fmla="*/ 6095999 w 12070587"/>
              <a:gd name="connsiteY89" fmla="*/ 2508742 h 6857999"/>
              <a:gd name="connsiteX90" fmla="*/ 6931444 w 12070587"/>
              <a:gd name="connsiteY90" fmla="*/ 3040238 h 6857999"/>
              <a:gd name="connsiteX91" fmla="*/ 7050793 w 12070587"/>
              <a:gd name="connsiteY91" fmla="*/ 2984532 h 6857999"/>
              <a:gd name="connsiteX92" fmla="*/ 6095999 w 12070587"/>
              <a:gd name="connsiteY92" fmla="*/ 2377015 h 6857999"/>
              <a:gd name="connsiteX93" fmla="*/ 0 w 12070587"/>
              <a:gd name="connsiteY93" fmla="*/ 0 h 6857999"/>
              <a:gd name="connsiteX94" fmla="*/ 12070587 w 12070587"/>
              <a:gd name="connsiteY94" fmla="*/ 0 h 6857999"/>
              <a:gd name="connsiteX95" fmla="*/ 12070587 w 12070587"/>
              <a:gd name="connsiteY95" fmla="*/ 6857999 h 6857999"/>
              <a:gd name="connsiteX96" fmla="*/ 0 w 12070587"/>
              <a:gd name="connsiteY9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</a:cxnLst>
            <a:rect l="l" t="t" r="r" b="b"/>
            <a:pathLst>
              <a:path w="12070587" h="6857999">
                <a:moveTo>
                  <a:pt x="5260554" y="3817761"/>
                </a:moveTo>
                <a:lnTo>
                  <a:pt x="5141205" y="3873467"/>
                </a:lnTo>
                <a:cubicBezTo>
                  <a:pt x="5309082" y="4232603"/>
                  <a:pt x="5673686" y="4480984"/>
                  <a:pt x="6095999" y="4480984"/>
                </a:cubicBezTo>
                <a:cubicBezTo>
                  <a:pt x="6518312" y="4480984"/>
                  <a:pt x="6882917" y="4232603"/>
                  <a:pt x="7050793" y="3873467"/>
                </a:cubicBezTo>
                <a:cubicBezTo>
                  <a:pt x="6931444" y="3817761"/>
                  <a:pt x="6931444" y="3817761"/>
                  <a:pt x="6931444" y="3817761"/>
                </a:cubicBezTo>
                <a:cubicBezTo>
                  <a:pt x="6784553" y="4131678"/>
                  <a:pt x="6465851" y="4349257"/>
                  <a:pt x="6095999" y="4349257"/>
                </a:cubicBezTo>
                <a:cubicBezTo>
                  <a:pt x="5726148" y="4349257"/>
                  <a:pt x="5407446" y="4131678"/>
                  <a:pt x="5260554" y="3817761"/>
                </a:cubicBezTo>
                <a:close/>
                <a:moveTo>
                  <a:pt x="6776333" y="3453639"/>
                </a:moveTo>
                <a:lnTo>
                  <a:pt x="6776333" y="3542161"/>
                </a:lnTo>
                <a:cubicBezTo>
                  <a:pt x="6761845" y="3544129"/>
                  <a:pt x="6742089" y="3547407"/>
                  <a:pt x="6722332" y="3547407"/>
                </a:cubicBezTo>
                <a:cubicBezTo>
                  <a:pt x="6674259" y="3547407"/>
                  <a:pt x="6654502" y="3532326"/>
                  <a:pt x="6654502" y="3499540"/>
                </a:cubicBezTo>
                <a:cubicBezTo>
                  <a:pt x="6654502" y="3465442"/>
                  <a:pt x="6673600" y="3459540"/>
                  <a:pt x="6713771" y="3457573"/>
                </a:cubicBezTo>
                <a:cubicBezTo>
                  <a:pt x="6776333" y="3453639"/>
                  <a:pt x="6776333" y="3453639"/>
                  <a:pt x="6776333" y="3453639"/>
                </a:cubicBezTo>
                <a:close/>
                <a:moveTo>
                  <a:pt x="5538180" y="3453639"/>
                </a:moveTo>
                <a:lnTo>
                  <a:pt x="5538180" y="3542161"/>
                </a:lnTo>
                <a:cubicBezTo>
                  <a:pt x="5523774" y="3544129"/>
                  <a:pt x="5504784" y="3547407"/>
                  <a:pt x="5484484" y="3547407"/>
                </a:cubicBezTo>
                <a:cubicBezTo>
                  <a:pt x="5436680" y="3547407"/>
                  <a:pt x="5417035" y="3532326"/>
                  <a:pt x="5417035" y="3499540"/>
                </a:cubicBezTo>
                <a:cubicBezTo>
                  <a:pt x="5417035" y="3465442"/>
                  <a:pt x="5436025" y="3459540"/>
                  <a:pt x="5475971" y="3457573"/>
                </a:cubicBezTo>
                <a:cubicBezTo>
                  <a:pt x="5538180" y="3453639"/>
                  <a:pt x="5538180" y="3453639"/>
                  <a:pt x="5538180" y="3453639"/>
                </a:cubicBezTo>
                <a:close/>
                <a:moveTo>
                  <a:pt x="5894018" y="3312645"/>
                </a:moveTo>
                <a:cubicBezTo>
                  <a:pt x="5953582" y="3312645"/>
                  <a:pt x="5982382" y="3340100"/>
                  <a:pt x="5982382" y="3429000"/>
                </a:cubicBezTo>
                <a:cubicBezTo>
                  <a:pt x="5982382" y="3517900"/>
                  <a:pt x="5953582" y="3545355"/>
                  <a:pt x="5894018" y="3545355"/>
                </a:cubicBezTo>
                <a:cubicBezTo>
                  <a:pt x="5874381" y="3545355"/>
                  <a:pt x="5856708" y="3542740"/>
                  <a:pt x="5832490" y="3537510"/>
                </a:cubicBezTo>
                <a:cubicBezTo>
                  <a:pt x="5832490" y="3321143"/>
                  <a:pt x="5832490" y="3321143"/>
                  <a:pt x="5832490" y="3321143"/>
                </a:cubicBezTo>
                <a:cubicBezTo>
                  <a:pt x="5852781" y="3316568"/>
                  <a:pt x="5872418" y="3312645"/>
                  <a:pt x="5894018" y="3312645"/>
                </a:cubicBezTo>
                <a:close/>
                <a:moveTo>
                  <a:pt x="6333667" y="3218877"/>
                </a:moveTo>
                <a:cubicBezTo>
                  <a:pt x="6201215" y="3218877"/>
                  <a:pt x="6150070" y="3266662"/>
                  <a:pt x="6150070" y="3356340"/>
                </a:cubicBezTo>
                <a:cubicBezTo>
                  <a:pt x="6150070" y="3443400"/>
                  <a:pt x="6203838" y="3465656"/>
                  <a:pt x="6293669" y="3466965"/>
                </a:cubicBezTo>
                <a:cubicBezTo>
                  <a:pt x="6352027" y="3468274"/>
                  <a:pt x="6382190" y="3466311"/>
                  <a:pt x="6382190" y="3504931"/>
                </a:cubicBezTo>
                <a:cubicBezTo>
                  <a:pt x="6382190" y="3538315"/>
                  <a:pt x="6355961" y="3545516"/>
                  <a:pt x="6299571" y="3545516"/>
                </a:cubicBezTo>
                <a:cubicBezTo>
                  <a:pt x="6236623" y="3545516"/>
                  <a:pt x="6192035" y="3535697"/>
                  <a:pt x="6159250" y="3525224"/>
                </a:cubicBezTo>
                <a:cubicBezTo>
                  <a:pt x="6167774" y="3616212"/>
                  <a:pt x="6167774" y="3616212"/>
                  <a:pt x="6167774" y="3616212"/>
                </a:cubicBezTo>
                <a:cubicBezTo>
                  <a:pt x="6209739" y="3631267"/>
                  <a:pt x="6249737" y="3639122"/>
                  <a:pt x="6308095" y="3639122"/>
                </a:cubicBezTo>
                <a:cubicBezTo>
                  <a:pt x="6449727" y="3639122"/>
                  <a:pt x="6493659" y="3591337"/>
                  <a:pt x="6493659" y="3505586"/>
                </a:cubicBezTo>
                <a:cubicBezTo>
                  <a:pt x="6493659" y="3396924"/>
                  <a:pt x="6422187" y="3381869"/>
                  <a:pt x="6337602" y="3380560"/>
                </a:cubicBezTo>
                <a:cubicBezTo>
                  <a:pt x="6290391" y="3379905"/>
                  <a:pt x="6260884" y="3378596"/>
                  <a:pt x="6260884" y="3353067"/>
                </a:cubicBezTo>
                <a:cubicBezTo>
                  <a:pt x="6260884" y="3319684"/>
                  <a:pt x="6281211" y="3312482"/>
                  <a:pt x="6341536" y="3312482"/>
                </a:cubicBezTo>
                <a:cubicBezTo>
                  <a:pt x="6378255" y="3312482"/>
                  <a:pt x="6430056" y="3319684"/>
                  <a:pt x="6462841" y="3327539"/>
                </a:cubicBezTo>
                <a:cubicBezTo>
                  <a:pt x="6454317" y="3237205"/>
                  <a:pt x="6454317" y="3237205"/>
                  <a:pt x="6454317" y="3237205"/>
                </a:cubicBezTo>
                <a:cubicBezTo>
                  <a:pt x="6411696" y="3224113"/>
                  <a:pt x="6365141" y="3218877"/>
                  <a:pt x="6333667" y="3218877"/>
                </a:cubicBezTo>
                <a:close/>
                <a:moveTo>
                  <a:pt x="6707535" y="3218876"/>
                </a:moveTo>
                <a:cubicBezTo>
                  <a:pt x="6672131" y="3218876"/>
                  <a:pt x="6625579" y="3224113"/>
                  <a:pt x="6582962" y="3237204"/>
                </a:cubicBezTo>
                <a:cubicBezTo>
                  <a:pt x="6574439" y="3327538"/>
                  <a:pt x="6574439" y="3327538"/>
                  <a:pt x="6574439" y="3327538"/>
                </a:cubicBezTo>
                <a:cubicBezTo>
                  <a:pt x="6609188" y="3319683"/>
                  <a:pt x="6660984" y="3312482"/>
                  <a:pt x="6695734" y="3312482"/>
                </a:cubicBezTo>
                <a:cubicBezTo>
                  <a:pt x="6752775" y="3312482"/>
                  <a:pt x="6776378" y="3317719"/>
                  <a:pt x="6776378" y="3363540"/>
                </a:cubicBezTo>
                <a:cubicBezTo>
                  <a:pt x="6776378" y="3376632"/>
                  <a:pt x="6776378" y="3376632"/>
                  <a:pt x="6776378" y="3376632"/>
                </a:cubicBezTo>
                <a:cubicBezTo>
                  <a:pt x="6699668" y="3380560"/>
                  <a:pt x="6699668" y="3380560"/>
                  <a:pt x="6699668" y="3380560"/>
                </a:cubicBezTo>
                <a:cubicBezTo>
                  <a:pt x="6615089" y="3385142"/>
                  <a:pt x="6543623" y="3396924"/>
                  <a:pt x="6543623" y="3505586"/>
                </a:cubicBezTo>
                <a:cubicBezTo>
                  <a:pt x="6543623" y="3591337"/>
                  <a:pt x="6587552" y="3639122"/>
                  <a:pt x="6719993" y="3639122"/>
                </a:cubicBezTo>
                <a:cubicBezTo>
                  <a:pt x="6781624" y="3639122"/>
                  <a:pt x="6840632" y="3626030"/>
                  <a:pt x="6886527" y="3611629"/>
                </a:cubicBezTo>
                <a:cubicBezTo>
                  <a:pt x="6886527" y="3356340"/>
                  <a:pt x="6886527" y="3356340"/>
                  <a:pt x="6886527" y="3356340"/>
                </a:cubicBezTo>
                <a:cubicBezTo>
                  <a:pt x="6886527" y="3266661"/>
                  <a:pt x="6836043" y="3218876"/>
                  <a:pt x="6707535" y="3218876"/>
                </a:cubicBezTo>
                <a:close/>
                <a:moveTo>
                  <a:pt x="5469384" y="3218876"/>
                </a:moveTo>
                <a:cubicBezTo>
                  <a:pt x="5433978" y="3218876"/>
                  <a:pt x="5387427" y="3224113"/>
                  <a:pt x="5344810" y="3237204"/>
                </a:cubicBezTo>
                <a:cubicBezTo>
                  <a:pt x="5336287" y="3327538"/>
                  <a:pt x="5336287" y="3327538"/>
                  <a:pt x="5336287" y="3327538"/>
                </a:cubicBezTo>
                <a:cubicBezTo>
                  <a:pt x="5371037" y="3319684"/>
                  <a:pt x="5422832" y="3312482"/>
                  <a:pt x="5457582" y="3312482"/>
                </a:cubicBezTo>
                <a:cubicBezTo>
                  <a:pt x="5514624" y="3312482"/>
                  <a:pt x="5538226" y="3317719"/>
                  <a:pt x="5538226" y="3363540"/>
                </a:cubicBezTo>
                <a:cubicBezTo>
                  <a:pt x="5538226" y="3376632"/>
                  <a:pt x="5538226" y="3376632"/>
                  <a:pt x="5538226" y="3376632"/>
                </a:cubicBezTo>
                <a:cubicBezTo>
                  <a:pt x="5461516" y="3380560"/>
                  <a:pt x="5461516" y="3380560"/>
                  <a:pt x="5461516" y="3380560"/>
                </a:cubicBezTo>
                <a:cubicBezTo>
                  <a:pt x="5376937" y="3385142"/>
                  <a:pt x="5305471" y="3399543"/>
                  <a:pt x="5305471" y="3505586"/>
                </a:cubicBezTo>
                <a:cubicBezTo>
                  <a:pt x="5305471" y="3591337"/>
                  <a:pt x="5349400" y="3639122"/>
                  <a:pt x="5481841" y="3639122"/>
                </a:cubicBezTo>
                <a:cubicBezTo>
                  <a:pt x="5543472" y="3639122"/>
                  <a:pt x="5602480" y="3626030"/>
                  <a:pt x="5648375" y="3611629"/>
                </a:cubicBezTo>
                <a:cubicBezTo>
                  <a:pt x="5648375" y="3356340"/>
                  <a:pt x="5648375" y="3356340"/>
                  <a:pt x="5648375" y="3356340"/>
                </a:cubicBezTo>
                <a:cubicBezTo>
                  <a:pt x="5648375" y="3266662"/>
                  <a:pt x="5597891" y="3218876"/>
                  <a:pt x="5469384" y="3218876"/>
                </a:cubicBezTo>
                <a:close/>
                <a:moveTo>
                  <a:pt x="7085757" y="3068984"/>
                </a:moveTo>
                <a:lnTo>
                  <a:pt x="6962500" y="3114149"/>
                </a:lnTo>
                <a:cubicBezTo>
                  <a:pt x="6997904" y="3212335"/>
                  <a:pt x="7017572" y="3318377"/>
                  <a:pt x="7017572" y="3428999"/>
                </a:cubicBezTo>
                <a:cubicBezTo>
                  <a:pt x="7017572" y="3539622"/>
                  <a:pt x="6997904" y="3645663"/>
                  <a:pt x="6962500" y="3743849"/>
                </a:cubicBezTo>
                <a:cubicBezTo>
                  <a:pt x="7085757" y="3789014"/>
                  <a:pt x="7085757" y="3789014"/>
                  <a:pt x="7085757" y="3789014"/>
                </a:cubicBezTo>
                <a:cubicBezTo>
                  <a:pt x="7127061" y="3676427"/>
                  <a:pt x="7149352" y="3555331"/>
                  <a:pt x="7149352" y="3428999"/>
                </a:cubicBezTo>
                <a:cubicBezTo>
                  <a:pt x="7149352" y="3302667"/>
                  <a:pt x="7127061" y="3181570"/>
                  <a:pt x="7085757" y="3068984"/>
                </a:cubicBezTo>
                <a:close/>
                <a:moveTo>
                  <a:pt x="5106241" y="3068984"/>
                </a:moveTo>
                <a:cubicBezTo>
                  <a:pt x="5064938" y="3181570"/>
                  <a:pt x="5042647" y="3302667"/>
                  <a:pt x="5042647" y="3428999"/>
                </a:cubicBezTo>
                <a:cubicBezTo>
                  <a:pt x="5042647" y="3555331"/>
                  <a:pt x="5064938" y="3676427"/>
                  <a:pt x="5106241" y="3789014"/>
                </a:cubicBezTo>
                <a:cubicBezTo>
                  <a:pt x="5229499" y="3743849"/>
                  <a:pt x="5229499" y="3743849"/>
                  <a:pt x="5229499" y="3743849"/>
                </a:cubicBezTo>
                <a:cubicBezTo>
                  <a:pt x="5194095" y="3645663"/>
                  <a:pt x="5174427" y="3539622"/>
                  <a:pt x="5174427" y="3428999"/>
                </a:cubicBezTo>
                <a:cubicBezTo>
                  <a:pt x="5174427" y="3318377"/>
                  <a:pt x="5194095" y="3212335"/>
                  <a:pt x="5229499" y="3114149"/>
                </a:cubicBezTo>
                <a:cubicBezTo>
                  <a:pt x="5106241" y="3068984"/>
                  <a:pt x="5106241" y="3068984"/>
                  <a:pt x="5106241" y="3068984"/>
                </a:cubicBezTo>
                <a:close/>
                <a:moveTo>
                  <a:pt x="5832460" y="3008753"/>
                </a:moveTo>
                <a:cubicBezTo>
                  <a:pt x="5722979" y="3020537"/>
                  <a:pt x="5722979" y="3020537"/>
                  <a:pt x="5722979" y="3020537"/>
                </a:cubicBezTo>
                <a:cubicBezTo>
                  <a:pt x="5722979" y="3611630"/>
                  <a:pt x="5722979" y="3611630"/>
                  <a:pt x="5722979" y="3611630"/>
                </a:cubicBezTo>
                <a:cubicBezTo>
                  <a:pt x="5768214" y="3626031"/>
                  <a:pt x="5827215" y="3639123"/>
                  <a:pt x="5885561" y="3639123"/>
                </a:cubicBezTo>
                <a:cubicBezTo>
                  <a:pt x="6017986" y="3639123"/>
                  <a:pt x="6095999" y="3594611"/>
                  <a:pt x="6095999" y="3429000"/>
                </a:cubicBezTo>
                <a:cubicBezTo>
                  <a:pt x="6095999" y="3263389"/>
                  <a:pt x="6017986" y="3218877"/>
                  <a:pt x="5911784" y="3218877"/>
                </a:cubicBezTo>
                <a:cubicBezTo>
                  <a:pt x="5885561" y="3218877"/>
                  <a:pt x="5857372" y="3223459"/>
                  <a:pt x="5832460" y="3228696"/>
                </a:cubicBezTo>
                <a:cubicBezTo>
                  <a:pt x="5832460" y="3008753"/>
                  <a:pt x="5832460" y="3008753"/>
                  <a:pt x="5832460" y="3008753"/>
                </a:cubicBezTo>
                <a:close/>
                <a:moveTo>
                  <a:pt x="6095999" y="2377015"/>
                </a:moveTo>
                <a:cubicBezTo>
                  <a:pt x="5673687" y="2377015"/>
                  <a:pt x="5309082" y="2625396"/>
                  <a:pt x="5141205" y="2984532"/>
                </a:cubicBezTo>
                <a:cubicBezTo>
                  <a:pt x="5260555" y="3040238"/>
                  <a:pt x="5260555" y="3040238"/>
                  <a:pt x="5260555" y="3040238"/>
                </a:cubicBezTo>
                <a:cubicBezTo>
                  <a:pt x="5407446" y="2726321"/>
                  <a:pt x="5726148" y="2508742"/>
                  <a:pt x="6095999" y="2508742"/>
                </a:cubicBezTo>
                <a:cubicBezTo>
                  <a:pt x="6465851" y="2508742"/>
                  <a:pt x="6784553" y="2726321"/>
                  <a:pt x="6931444" y="3040238"/>
                </a:cubicBezTo>
                <a:lnTo>
                  <a:pt x="7050793" y="2984532"/>
                </a:lnTo>
                <a:cubicBezTo>
                  <a:pt x="6882917" y="2625396"/>
                  <a:pt x="6518312" y="2377015"/>
                  <a:pt x="6095999" y="2377015"/>
                </a:cubicBezTo>
                <a:close/>
                <a:moveTo>
                  <a:pt x="0" y="0"/>
                </a:moveTo>
                <a:lnTo>
                  <a:pt x="12070587" y="0"/>
                </a:lnTo>
                <a:lnTo>
                  <a:pt x="12070587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ECEA45CE-9FBB-4092-B760-6394BC9DB74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8" y="6129339"/>
            <a:ext cx="7166539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6858DA2-A04B-4C1F-88E7-7812226B21FC}"/>
              </a:ext>
            </a:extLst>
          </p:cNvPr>
          <p:cNvGrpSpPr/>
          <p:nvPr userDrawn="1"/>
        </p:nvGrpSpPr>
        <p:grpSpPr>
          <a:xfrm>
            <a:off x="12073965" y="-3096"/>
            <a:ext cx="127000" cy="6858000"/>
            <a:chOff x="12073965" y="-3096"/>
            <a:chExt cx="127000" cy="6096000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FE1DBD67-46EB-4158-A3F3-7F69D2857099}"/>
                </a:ext>
              </a:extLst>
            </p:cNvPr>
            <p:cNvSpPr/>
            <p:nvPr/>
          </p:nvSpPr>
          <p:spPr>
            <a:xfrm>
              <a:off x="12073965" y="-3096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500D2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2D4B23E-82F1-427F-8ABB-1AD138592E68}"/>
                </a:ext>
              </a:extLst>
            </p:cNvPr>
            <p:cNvSpPr/>
            <p:nvPr/>
          </p:nvSpPr>
          <p:spPr>
            <a:xfrm>
              <a:off x="12073965" y="758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96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F427EFE-0781-4A67-BA99-1CA710699A94}"/>
                </a:ext>
              </a:extLst>
            </p:cNvPr>
            <p:cNvSpPr/>
            <p:nvPr/>
          </p:nvSpPr>
          <p:spPr>
            <a:xfrm>
              <a:off x="12073965" y="377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650E35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B8588E09-4AA1-4660-825A-8709E680FB43}"/>
                </a:ext>
              </a:extLst>
            </p:cNvPr>
            <p:cNvSpPr/>
            <p:nvPr/>
          </p:nvSpPr>
          <p:spPr>
            <a:xfrm>
              <a:off x="12073965" y="1139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A183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1C0F6CD9-31F9-4046-BBE2-7E40397C03A2}"/>
                </a:ext>
              </a:extLst>
            </p:cNvPr>
            <p:cNvSpPr/>
            <p:nvPr/>
          </p:nvSpPr>
          <p:spPr>
            <a:xfrm>
              <a:off x="12073965" y="3044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A183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0A65E82F-4C0A-419A-84F0-691144B4F9CD}"/>
                </a:ext>
              </a:extLst>
            </p:cNvPr>
            <p:cNvSpPr/>
            <p:nvPr/>
          </p:nvSpPr>
          <p:spPr>
            <a:xfrm>
              <a:off x="12073965" y="3806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500D2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F4B15234-CB84-4E7C-A563-55BED2C512A0}"/>
                </a:ext>
              </a:extLst>
            </p:cNvPr>
            <p:cNvSpPr/>
            <p:nvPr/>
          </p:nvSpPr>
          <p:spPr>
            <a:xfrm>
              <a:off x="12073965" y="3425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96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259F3C9-ADB3-47B7-A551-D009268AFD26}"/>
                </a:ext>
              </a:extLst>
            </p:cNvPr>
            <p:cNvSpPr/>
            <p:nvPr/>
          </p:nvSpPr>
          <p:spPr>
            <a:xfrm>
              <a:off x="12073965" y="4187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650E35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B66DE40-0BDD-4C2E-BC7F-E347D17BA98F}"/>
                </a:ext>
              </a:extLst>
            </p:cNvPr>
            <p:cNvSpPr/>
            <p:nvPr/>
          </p:nvSpPr>
          <p:spPr>
            <a:xfrm>
              <a:off x="12073965" y="1520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BE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9D81AFAD-7CF0-4232-B779-1D8AEE4607D8}"/>
                </a:ext>
              </a:extLst>
            </p:cNvPr>
            <p:cNvSpPr/>
            <p:nvPr/>
          </p:nvSpPr>
          <p:spPr>
            <a:xfrm>
              <a:off x="12073965" y="2282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F7721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972C81B-B1F3-476D-94BB-FD814E8AE0CE}"/>
                </a:ext>
              </a:extLst>
            </p:cNvPr>
            <p:cNvSpPr/>
            <p:nvPr/>
          </p:nvSpPr>
          <p:spPr>
            <a:xfrm>
              <a:off x="12073965" y="1901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DC0A34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C3BE9BD6-A9EC-473D-BBFF-2597C42ADED9}"/>
                </a:ext>
              </a:extLst>
            </p:cNvPr>
            <p:cNvSpPr/>
            <p:nvPr/>
          </p:nvSpPr>
          <p:spPr>
            <a:xfrm>
              <a:off x="12073965" y="2663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A5728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E86897F6-ACED-4895-99FA-80303816FB4A}"/>
                </a:ext>
              </a:extLst>
            </p:cNvPr>
            <p:cNvSpPr/>
            <p:nvPr/>
          </p:nvSpPr>
          <p:spPr>
            <a:xfrm>
              <a:off x="12073965" y="4568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88133E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7D0284F5-2D47-4FD8-A33F-3A802B8C26F6}"/>
                </a:ext>
              </a:extLst>
            </p:cNvPr>
            <p:cNvSpPr/>
            <p:nvPr/>
          </p:nvSpPr>
          <p:spPr>
            <a:xfrm>
              <a:off x="12073965" y="5330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8365C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3A601995-3D29-4CCE-8D0C-D6243F4E9CC5}"/>
                </a:ext>
              </a:extLst>
            </p:cNvPr>
            <p:cNvSpPr/>
            <p:nvPr/>
          </p:nvSpPr>
          <p:spPr>
            <a:xfrm>
              <a:off x="12073965" y="4949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F184C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A3CED2C5-4AE4-4623-87C7-73A128C9072C}"/>
                </a:ext>
              </a:extLst>
            </p:cNvPr>
            <p:cNvSpPr/>
            <p:nvPr/>
          </p:nvSpPr>
          <p:spPr>
            <a:xfrm>
              <a:off x="12073965" y="5711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B5A7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25405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6 pic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1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63F8DF2-10EE-4ED2-91AB-B7E3C37627A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58778" y="1449391"/>
            <a:ext cx="3550031" cy="1735137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5C1C585-F7B3-47D7-9F59-BA03B794FA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8" y="3184528"/>
            <a:ext cx="3550031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20808307-4B52-4775-B16F-1438C3DD8A8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8" y="3905253"/>
            <a:ext cx="3550031" cy="1735137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B44C7F4-FBFC-4ABE-9663-0758653A2B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8" y="5640390"/>
            <a:ext cx="3550031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  <p:sp>
        <p:nvSpPr>
          <p:cNvPr id="55" name="Picture Placeholder 7">
            <a:extLst>
              <a:ext uri="{FF2B5EF4-FFF2-40B4-BE49-F238E27FC236}">
                <a16:creationId xmlns:a16="http://schemas.microsoft.com/office/drawing/2014/main" id="{479FBAD6-4BFA-4431-8975-ADB4B71598D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53836" y="1449391"/>
            <a:ext cx="3550031" cy="1735137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B55CAB97-B3BF-470D-9F6B-D5EDA04B22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3836" y="3184528"/>
            <a:ext cx="3550031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  <p:sp>
        <p:nvSpPr>
          <p:cNvPr id="57" name="Picture Placeholder 7">
            <a:extLst>
              <a:ext uri="{FF2B5EF4-FFF2-40B4-BE49-F238E27FC236}">
                <a16:creationId xmlns:a16="http://schemas.microsoft.com/office/drawing/2014/main" id="{5C9A712D-E437-4A25-960D-B27B8F34B69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253836" y="3905253"/>
            <a:ext cx="3550031" cy="1735137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58" name="Text Placeholder 9">
            <a:extLst>
              <a:ext uri="{FF2B5EF4-FFF2-40B4-BE49-F238E27FC236}">
                <a16:creationId xmlns:a16="http://schemas.microsoft.com/office/drawing/2014/main" id="{4B9C6B14-0BAE-4417-A499-564B5A7A23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53836" y="5640390"/>
            <a:ext cx="3550031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  <p:sp>
        <p:nvSpPr>
          <p:cNvPr id="60" name="Picture Placeholder 7">
            <a:extLst>
              <a:ext uri="{FF2B5EF4-FFF2-40B4-BE49-F238E27FC236}">
                <a16:creationId xmlns:a16="http://schemas.microsoft.com/office/drawing/2014/main" id="{E3523C2A-5621-4CFB-A631-36567F0B7E0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48895" y="1449391"/>
            <a:ext cx="3550031" cy="1735137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id="{6CEBD3A7-807C-4C08-ACED-8976C990A8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48895" y="3184528"/>
            <a:ext cx="3550031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  <p:sp>
        <p:nvSpPr>
          <p:cNvPr id="62" name="Picture Placeholder 7">
            <a:extLst>
              <a:ext uri="{FF2B5EF4-FFF2-40B4-BE49-F238E27FC236}">
                <a16:creationId xmlns:a16="http://schemas.microsoft.com/office/drawing/2014/main" id="{DD460847-667B-4272-8519-83CFD44E4DC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48895" y="3905253"/>
            <a:ext cx="3550031" cy="1735137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4EDDB16E-EE3B-4791-B8C5-BDC6D8EB756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48895" y="5640390"/>
            <a:ext cx="3550031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70387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pics with text &amp; dividing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DFD8DC6-333F-4D12-B2B1-E0CC8E63A54F}"/>
              </a:ext>
            </a:extLst>
          </p:cNvPr>
          <p:cNvCxnSpPr>
            <a:cxnSpLocks/>
          </p:cNvCxnSpPr>
          <p:nvPr userDrawn="1"/>
        </p:nvCxnSpPr>
        <p:spPr>
          <a:xfrm>
            <a:off x="7990457" y="1449388"/>
            <a:ext cx="0" cy="4679949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B1D0B4F-4C26-470A-9E53-C4AAD8791734}"/>
              </a:ext>
            </a:extLst>
          </p:cNvPr>
          <p:cNvCxnSpPr>
            <a:cxnSpLocks/>
          </p:cNvCxnSpPr>
          <p:nvPr userDrawn="1"/>
        </p:nvCxnSpPr>
        <p:spPr>
          <a:xfrm>
            <a:off x="4065028" y="1449388"/>
            <a:ext cx="0" cy="4679949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910E507C-AAE6-4FED-AC4E-A73D986154B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58775" y="1449389"/>
            <a:ext cx="3487081" cy="2167912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635C1B9-56DB-4822-8BE1-1B71F05D39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3617303"/>
            <a:ext cx="3487081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94BD5C-A104-49D3-B85B-71FA3DCD71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8777" y="4237037"/>
            <a:ext cx="3487071" cy="18923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50" dirty="0" smtClean="0"/>
            </a:lvl1pPr>
            <a:lvl2pPr>
              <a:defRPr lang="en-US" sz="1050" dirty="0" smtClean="0"/>
            </a:lvl2pPr>
            <a:lvl3pPr>
              <a:defRPr lang="en-US" sz="1050" dirty="0" smtClean="0"/>
            </a:lvl3pPr>
            <a:lvl4pPr>
              <a:defRPr lang="en-US" sz="1050" dirty="0" smtClean="0"/>
            </a:lvl4pPr>
            <a:lvl5pPr>
              <a:defRPr lang="en-GB" sz="10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218343B1-3037-4A12-A5BE-29EE5D3DC7A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284202" y="1449389"/>
            <a:ext cx="3487081" cy="2167912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4EBB779D-72A9-43C7-80DD-51EEA55402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84202" y="3617303"/>
            <a:ext cx="3487081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DA13352E-CE27-4FF2-91C6-83FA875FE86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84206" y="4237037"/>
            <a:ext cx="3487071" cy="18923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50" dirty="0" smtClean="0"/>
            </a:lvl1pPr>
            <a:lvl2pPr>
              <a:defRPr lang="en-US" sz="1050" dirty="0" smtClean="0"/>
            </a:lvl2pPr>
            <a:lvl3pPr>
              <a:defRPr lang="en-US" sz="1050" dirty="0" smtClean="0"/>
            </a:lvl3pPr>
            <a:lvl4pPr>
              <a:defRPr lang="en-US" sz="1050" dirty="0" smtClean="0"/>
            </a:lvl4pPr>
            <a:lvl5pPr>
              <a:defRPr lang="en-GB" sz="10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F2D43E59-8578-4A9A-A0D9-5CABF288D6E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209631" y="1449389"/>
            <a:ext cx="3487081" cy="2167912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6F1C555E-6E78-49F5-9389-58DCDEA69B3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9631" y="3617303"/>
            <a:ext cx="3487081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F98BFE0C-8F77-42E9-8B1A-D00DC6B6BD8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09633" y="4237037"/>
            <a:ext cx="3487071" cy="18923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50" dirty="0" smtClean="0"/>
            </a:lvl1pPr>
            <a:lvl2pPr>
              <a:defRPr lang="en-US" sz="1050" dirty="0" smtClean="0"/>
            </a:lvl2pPr>
            <a:lvl3pPr>
              <a:defRPr lang="en-US" sz="1050" dirty="0" smtClean="0"/>
            </a:lvl3pPr>
            <a:lvl4pPr>
              <a:defRPr lang="en-US" sz="1050" dirty="0" smtClean="0"/>
            </a:lvl4pPr>
            <a:lvl5pPr>
              <a:defRPr lang="en-GB" sz="10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772300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pics &amp; titles with text &amp; dividing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DFD8DC6-333F-4D12-B2B1-E0CC8E63A54F}"/>
              </a:ext>
            </a:extLst>
          </p:cNvPr>
          <p:cNvCxnSpPr>
            <a:cxnSpLocks/>
          </p:cNvCxnSpPr>
          <p:nvPr userDrawn="1"/>
        </p:nvCxnSpPr>
        <p:spPr>
          <a:xfrm>
            <a:off x="7990457" y="1449388"/>
            <a:ext cx="0" cy="4679949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B1D0B4F-4C26-470A-9E53-C4AAD8791734}"/>
              </a:ext>
            </a:extLst>
          </p:cNvPr>
          <p:cNvCxnSpPr>
            <a:cxnSpLocks/>
          </p:cNvCxnSpPr>
          <p:nvPr userDrawn="1"/>
        </p:nvCxnSpPr>
        <p:spPr>
          <a:xfrm>
            <a:off x="4065028" y="1449388"/>
            <a:ext cx="0" cy="4679949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910E507C-AAE6-4FED-AC4E-A73D986154B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58775" y="1449390"/>
            <a:ext cx="3487081" cy="1859441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635C1B9-56DB-4822-8BE1-1B71F05D39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3308829"/>
            <a:ext cx="3487081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94BD5C-A104-49D3-B85B-71FA3DCD71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8777" y="4433926"/>
            <a:ext cx="3487071" cy="169541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50" dirty="0" smtClean="0"/>
            </a:lvl1pPr>
            <a:lvl2pPr>
              <a:defRPr lang="en-US" sz="1050" dirty="0" smtClean="0"/>
            </a:lvl2pPr>
            <a:lvl3pPr>
              <a:defRPr lang="en-US" sz="1050" dirty="0" smtClean="0"/>
            </a:lvl3pPr>
            <a:lvl4pPr>
              <a:defRPr lang="en-US" sz="1050" dirty="0" smtClean="0"/>
            </a:lvl4pPr>
            <a:lvl5pPr>
              <a:defRPr lang="en-GB" sz="10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218343B1-3037-4A12-A5BE-29EE5D3DC7A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284202" y="1449390"/>
            <a:ext cx="3487081" cy="1859441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4EBB779D-72A9-43C7-80DD-51EEA55402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84202" y="3308829"/>
            <a:ext cx="3487081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F2D43E59-8578-4A9A-A0D9-5CABF288D6E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209631" y="1449390"/>
            <a:ext cx="3487081" cy="1859441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6F1C555E-6E78-49F5-9389-58DCDEA69B3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9631" y="3308829"/>
            <a:ext cx="3487081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2413540-D425-4896-8C8F-BB48A601BBF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8777" y="3994666"/>
            <a:ext cx="3487071" cy="323946"/>
          </a:xfr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mtClean="0">
                <a:latin typeface="Arial" panose="020B0604020202020204" pitchFamily="34" charset="0"/>
              </a:defRPr>
            </a:lvl1pPr>
            <a:lvl2pPr marL="342900" indent="0">
              <a:buFont typeface="Arial" panose="020B0604020202020204" pitchFamily="34" charset="0"/>
              <a:buNone/>
              <a:defRPr lang="en-US" smtClean="0">
                <a:latin typeface="+mj-lt"/>
              </a:defRPr>
            </a:lvl2pPr>
            <a:lvl3pPr marL="685800" indent="0">
              <a:buFont typeface="Arial" panose="020B0604020202020204" pitchFamily="34" charset="0"/>
              <a:buNone/>
              <a:defRPr lang="en-US" smtClean="0">
                <a:latin typeface="+mj-lt"/>
              </a:defRPr>
            </a:lvl3pPr>
            <a:lvl4pPr marL="1028700" indent="0">
              <a:buFont typeface="Arial" panose="020B0604020202020204" pitchFamily="34" charset="0"/>
              <a:buNone/>
              <a:defRPr lang="en-US" smtClean="0">
                <a:latin typeface="+mj-lt"/>
              </a:defRPr>
            </a:lvl4pPr>
            <a:lvl5pPr marL="1371600" indent="0">
              <a:buFont typeface="Arial" panose="020B0604020202020204" pitchFamily="34" charset="0"/>
              <a:buNone/>
              <a:defRPr lang="en-GB">
                <a:latin typeface="+mj-lt"/>
              </a:defRPr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title</a:t>
            </a:r>
            <a:endParaRPr lang="en-GB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F4624C7-390D-4449-BA41-775C5C5944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84204" y="4433926"/>
            <a:ext cx="3487071" cy="169541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50" dirty="0" smtClean="0"/>
            </a:lvl1pPr>
            <a:lvl2pPr>
              <a:defRPr lang="en-US" sz="1050" dirty="0" smtClean="0"/>
            </a:lvl2pPr>
            <a:lvl3pPr>
              <a:defRPr lang="en-US" sz="1050" dirty="0" smtClean="0"/>
            </a:lvl3pPr>
            <a:lvl4pPr>
              <a:defRPr lang="en-US" sz="1050" dirty="0" smtClean="0"/>
            </a:lvl4pPr>
            <a:lvl5pPr>
              <a:defRPr lang="en-GB" sz="10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366F731F-FCB4-4E7A-9C39-64619AD5CA8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84204" y="3994666"/>
            <a:ext cx="3487071" cy="323946"/>
          </a:xfr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mtClean="0">
                <a:latin typeface="Arial" panose="020B0604020202020204" pitchFamily="34" charset="0"/>
              </a:defRPr>
            </a:lvl1pPr>
            <a:lvl2pPr marL="342900" indent="0">
              <a:buFont typeface="Arial" panose="020B0604020202020204" pitchFamily="34" charset="0"/>
              <a:buNone/>
              <a:defRPr lang="en-US" smtClean="0">
                <a:latin typeface="+mj-lt"/>
              </a:defRPr>
            </a:lvl2pPr>
            <a:lvl3pPr marL="685800" indent="0">
              <a:buFont typeface="Arial" panose="020B0604020202020204" pitchFamily="34" charset="0"/>
              <a:buNone/>
              <a:defRPr lang="en-US" smtClean="0">
                <a:latin typeface="+mj-lt"/>
              </a:defRPr>
            </a:lvl3pPr>
            <a:lvl4pPr marL="1028700" indent="0">
              <a:buFont typeface="Arial" panose="020B0604020202020204" pitchFamily="34" charset="0"/>
              <a:buNone/>
              <a:defRPr lang="en-US" smtClean="0">
                <a:latin typeface="+mj-lt"/>
              </a:defRPr>
            </a:lvl4pPr>
            <a:lvl5pPr marL="1371600" indent="0">
              <a:buFont typeface="Arial" panose="020B0604020202020204" pitchFamily="34" charset="0"/>
              <a:buNone/>
              <a:defRPr lang="en-GB">
                <a:latin typeface="+mj-lt"/>
              </a:defRPr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title</a:t>
            </a:r>
            <a:endParaRPr lang="en-GB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28B7D4-141B-4249-829E-BD19C7CA232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209633" y="4433926"/>
            <a:ext cx="3487071" cy="169541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50" dirty="0" smtClean="0"/>
            </a:lvl1pPr>
            <a:lvl2pPr>
              <a:defRPr lang="en-US" sz="1050" dirty="0" smtClean="0"/>
            </a:lvl2pPr>
            <a:lvl3pPr>
              <a:defRPr lang="en-US" sz="1050" dirty="0" smtClean="0"/>
            </a:lvl3pPr>
            <a:lvl4pPr>
              <a:defRPr lang="en-US" sz="1050" dirty="0" smtClean="0"/>
            </a:lvl4pPr>
            <a:lvl5pPr>
              <a:defRPr lang="en-GB" sz="10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B38AE04-7720-43DB-9E97-01E1E2F10F5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09633" y="3994666"/>
            <a:ext cx="3487071" cy="323946"/>
          </a:xfr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mtClean="0">
                <a:latin typeface="Arial" panose="020B0604020202020204" pitchFamily="34" charset="0"/>
              </a:defRPr>
            </a:lvl1pPr>
            <a:lvl2pPr marL="342900" indent="0">
              <a:buFont typeface="Arial" panose="020B0604020202020204" pitchFamily="34" charset="0"/>
              <a:buNone/>
              <a:defRPr lang="en-US" smtClean="0">
                <a:latin typeface="+mj-lt"/>
              </a:defRPr>
            </a:lvl2pPr>
            <a:lvl3pPr marL="685800" indent="0">
              <a:buFont typeface="Arial" panose="020B0604020202020204" pitchFamily="34" charset="0"/>
              <a:buNone/>
              <a:defRPr lang="en-US" smtClean="0">
                <a:latin typeface="+mj-lt"/>
              </a:defRPr>
            </a:lvl3pPr>
            <a:lvl4pPr marL="1028700" indent="0">
              <a:buFont typeface="Arial" panose="020B0604020202020204" pitchFamily="34" charset="0"/>
              <a:buNone/>
              <a:defRPr lang="en-US" smtClean="0">
                <a:latin typeface="+mj-lt"/>
              </a:defRPr>
            </a:lvl4pPr>
            <a:lvl5pPr marL="1371600" indent="0">
              <a:buFont typeface="Arial" panose="020B0604020202020204" pitchFamily="34" charset="0"/>
              <a:buNone/>
              <a:defRPr lang="en-GB">
                <a:latin typeface="+mj-lt"/>
              </a:defRPr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031872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pics &amp; titles with text &amp; dividing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B1D0B4F-4C26-470A-9E53-C4AAD8791734}"/>
              </a:ext>
            </a:extLst>
          </p:cNvPr>
          <p:cNvCxnSpPr>
            <a:cxnSpLocks/>
          </p:cNvCxnSpPr>
          <p:nvPr userDrawn="1"/>
        </p:nvCxnSpPr>
        <p:spPr>
          <a:xfrm>
            <a:off x="6022710" y="1449388"/>
            <a:ext cx="0" cy="4679949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910E507C-AAE6-4FED-AC4E-A73D986154B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58774" y="1449390"/>
            <a:ext cx="5328592" cy="1859441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635C1B9-56DB-4822-8BE1-1B71F05D39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4" y="3308829"/>
            <a:ext cx="5328592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94BD5C-A104-49D3-B85B-71FA3DCD71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8776" y="4433926"/>
            <a:ext cx="5328578" cy="169541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50" dirty="0" smtClean="0"/>
            </a:lvl1pPr>
            <a:lvl2pPr>
              <a:defRPr lang="en-US" sz="1050" dirty="0" smtClean="0"/>
            </a:lvl2pPr>
            <a:lvl3pPr>
              <a:defRPr lang="en-US" sz="1050" dirty="0" smtClean="0"/>
            </a:lvl3pPr>
            <a:lvl4pPr>
              <a:defRPr lang="en-US" sz="1050" dirty="0" smtClean="0"/>
            </a:lvl4pPr>
            <a:lvl5pPr>
              <a:defRPr lang="en-GB" sz="10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2413540-D425-4896-8C8F-BB48A601BBF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8776" y="3994666"/>
            <a:ext cx="5328578" cy="323946"/>
          </a:xfr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mtClean="0">
                <a:latin typeface="Arial" panose="020B0604020202020204" pitchFamily="34" charset="0"/>
              </a:defRPr>
            </a:lvl1pPr>
            <a:lvl2pPr marL="342900" indent="0">
              <a:buFont typeface="Arial" panose="020B0604020202020204" pitchFamily="34" charset="0"/>
              <a:buNone/>
              <a:defRPr lang="en-US" smtClean="0">
                <a:latin typeface="+mj-lt"/>
              </a:defRPr>
            </a:lvl2pPr>
            <a:lvl3pPr marL="685800" indent="0">
              <a:buFont typeface="Arial" panose="020B0604020202020204" pitchFamily="34" charset="0"/>
              <a:buNone/>
              <a:defRPr lang="en-US" smtClean="0">
                <a:latin typeface="+mj-lt"/>
              </a:defRPr>
            </a:lvl3pPr>
            <a:lvl4pPr marL="1028700" indent="0">
              <a:buFont typeface="Arial" panose="020B0604020202020204" pitchFamily="34" charset="0"/>
              <a:buNone/>
              <a:defRPr lang="en-US" smtClean="0">
                <a:latin typeface="+mj-lt"/>
              </a:defRPr>
            </a:lvl4pPr>
            <a:lvl5pPr marL="1371600" indent="0">
              <a:buFont typeface="Arial" panose="020B0604020202020204" pitchFamily="34" charset="0"/>
              <a:buNone/>
              <a:defRPr lang="en-GB">
                <a:latin typeface="+mj-lt"/>
              </a:defRPr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title</a:t>
            </a:r>
            <a:endParaRPr lang="en-GB"/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3BCE871C-67DF-40E4-8C58-AD24E23D7BC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69071" y="1449390"/>
            <a:ext cx="5328592" cy="1859441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18BB8E70-12E9-4307-A0DF-7FE0646BCD9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69071" y="3308829"/>
            <a:ext cx="5328592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19811ED1-7222-4F49-8019-F2AE74AE56A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69073" y="4433926"/>
            <a:ext cx="5328578" cy="169541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50" dirty="0" smtClean="0"/>
            </a:lvl1pPr>
            <a:lvl2pPr>
              <a:defRPr lang="en-US" sz="1050" dirty="0" smtClean="0"/>
            </a:lvl2pPr>
            <a:lvl3pPr>
              <a:defRPr lang="en-US" sz="1050" dirty="0" smtClean="0"/>
            </a:lvl3pPr>
            <a:lvl4pPr>
              <a:defRPr lang="en-US" sz="1050" dirty="0" smtClean="0"/>
            </a:lvl4pPr>
            <a:lvl5pPr>
              <a:defRPr lang="en-GB" sz="10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3E414756-6A96-4611-BC68-2A41F84A67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69073" y="3994666"/>
            <a:ext cx="5328578" cy="323946"/>
          </a:xfr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mtClean="0">
                <a:latin typeface="Arial" panose="020B0604020202020204" pitchFamily="34" charset="0"/>
              </a:defRPr>
            </a:lvl1pPr>
            <a:lvl2pPr marL="342900" indent="0">
              <a:buFont typeface="Arial" panose="020B0604020202020204" pitchFamily="34" charset="0"/>
              <a:buNone/>
              <a:defRPr lang="en-US" smtClean="0">
                <a:latin typeface="+mj-lt"/>
              </a:defRPr>
            </a:lvl2pPr>
            <a:lvl3pPr marL="685800" indent="0">
              <a:buFont typeface="Arial" panose="020B0604020202020204" pitchFamily="34" charset="0"/>
              <a:buNone/>
              <a:defRPr lang="en-US" smtClean="0">
                <a:latin typeface="+mj-lt"/>
              </a:defRPr>
            </a:lvl3pPr>
            <a:lvl4pPr marL="1028700" indent="0">
              <a:buFont typeface="Arial" panose="020B0604020202020204" pitchFamily="34" charset="0"/>
              <a:buNone/>
              <a:defRPr lang="en-US" smtClean="0">
                <a:latin typeface="+mj-lt"/>
              </a:defRPr>
            </a:lvl4pPr>
            <a:lvl5pPr marL="1371600" indent="0">
              <a:buFont typeface="Arial" panose="020B0604020202020204" pitchFamily="34" charset="0"/>
              <a:buNone/>
              <a:defRPr lang="en-GB">
                <a:latin typeface="+mj-lt"/>
              </a:defRPr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954778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pic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910E507C-AAE6-4FED-AC4E-A73D986154B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58775" y="1449389"/>
            <a:ext cx="3487081" cy="2167912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635C1B9-56DB-4822-8BE1-1B71F05D39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3617303"/>
            <a:ext cx="3487081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94BD5C-A104-49D3-B85B-71FA3DCD71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8777" y="4237037"/>
            <a:ext cx="3487071" cy="18923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50" dirty="0" smtClean="0"/>
            </a:lvl1pPr>
            <a:lvl2pPr>
              <a:defRPr lang="en-US" sz="1050" dirty="0" smtClean="0"/>
            </a:lvl2pPr>
            <a:lvl3pPr>
              <a:defRPr lang="en-US" sz="1050" dirty="0" smtClean="0"/>
            </a:lvl3pPr>
            <a:lvl4pPr>
              <a:defRPr lang="en-US" sz="1050" dirty="0" smtClean="0"/>
            </a:lvl4pPr>
            <a:lvl5pPr>
              <a:defRPr lang="en-GB" sz="10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218343B1-3037-4A12-A5BE-29EE5D3DC7A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284202" y="1449389"/>
            <a:ext cx="3487081" cy="2167912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4EBB779D-72A9-43C7-80DD-51EEA55402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84202" y="3617303"/>
            <a:ext cx="3487081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DA13352E-CE27-4FF2-91C6-83FA875FE86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84206" y="4237037"/>
            <a:ext cx="3487071" cy="18923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50" dirty="0" smtClean="0"/>
            </a:lvl1pPr>
            <a:lvl2pPr>
              <a:defRPr lang="en-US" sz="1050" dirty="0" smtClean="0"/>
            </a:lvl2pPr>
            <a:lvl3pPr>
              <a:defRPr lang="en-US" sz="1050" dirty="0" smtClean="0"/>
            </a:lvl3pPr>
            <a:lvl4pPr>
              <a:defRPr lang="en-US" sz="1050" dirty="0" smtClean="0"/>
            </a:lvl4pPr>
            <a:lvl5pPr>
              <a:defRPr lang="en-GB" sz="10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F2D43E59-8578-4A9A-A0D9-5CABF288D6E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209631" y="1449389"/>
            <a:ext cx="3487081" cy="2167912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6F1C555E-6E78-49F5-9389-58DCDEA69B3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9631" y="3617303"/>
            <a:ext cx="3487081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F98BFE0C-8F77-42E9-8B1A-D00DC6B6BD8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09633" y="4237037"/>
            <a:ext cx="3487071" cy="18923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50" dirty="0" smtClean="0"/>
            </a:lvl1pPr>
            <a:lvl2pPr>
              <a:defRPr lang="en-US" sz="1050" dirty="0" smtClean="0"/>
            </a:lvl2pPr>
            <a:lvl3pPr>
              <a:defRPr lang="en-US" sz="1050" dirty="0" smtClean="0"/>
            </a:lvl3pPr>
            <a:lvl4pPr>
              <a:defRPr lang="en-US" sz="1050" dirty="0" smtClean="0"/>
            </a:lvl4pPr>
            <a:lvl5pPr>
              <a:defRPr lang="en-GB" sz="10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317261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pics &amp; titles with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910E507C-AAE6-4FED-AC4E-A73D986154B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58774" y="1449390"/>
            <a:ext cx="5328592" cy="1859441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635C1B9-56DB-4822-8BE1-1B71F05D39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4" y="3308829"/>
            <a:ext cx="5328592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94BD5C-A104-49D3-B85B-71FA3DCD71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8776" y="4433926"/>
            <a:ext cx="5328578" cy="169541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50" dirty="0" smtClean="0"/>
            </a:lvl1pPr>
            <a:lvl2pPr>
              <a:defRPr lang="en-US" sz="1050" dirty="0" smtClean="0"/>
            </a:lvl2pPr>
            <a:lvl3pPr>
              <a:defRPr lang="en-US" sz="1050" dirty="0" smtClean="0"/>
            </a:lvl3pPr>
            <a:lvl4pPr>
              <a:defRPr lang="en-US" sz="1050" dirty="0" smtClean="0"/>
            </a:lvl4pPr>
            <a:lvl5pPr>
              <a:defRPr lang="en-GB" sz="10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2413540-D425-4896-8C8F-BB48A601BBF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8776" y="3994666"/>
            <a:ext cx="5328578" cy="323946"/>
          </a:xfr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mtClean="0">
                <a:latin typeface="Arial" panose="020B0604020202020204" pitchFamily="34" charset="0"/>
              </a:defRPr>
            </a:lvl1pPr>
            <a:lvl2pPr marL="342900" indent="0">
              <a:buFont typeface="Arial" panose="020B0604020202020204" pitchFamily="34" charset="0"/>
              <a:buNone/>
              <a:defRPr lang="en-US" smtClean="0">
                <a:latin typeface="+mj-lt"/>
              </a:defRPr>
            </a:lvl2pPr>
            <a:lvl3pPr marL="685800" indent="0">
              <a:buFont typeface="Arial" panose="020B0604020202020204" pitchFamily="34" charset="0"/>
              <a:buNone/>
              <a:defRPr lang="en-US" smtClean="0">
                <a:latin typeface="+mj-lt"/>
              </a:defRPr>
            </a:lvl3pPr>
            <a:lvl4pPr marL="1028700" indent="0">
              <a:buFont typeface="Arial" panose="020B0604020202020204" pitchFamily="34" charset="0"/>
              <a:buNone/>
              <a:defRPr lang="en-US" smtClean="0">
                <a:latin typeface="+mj-lt"/>
              </a:defRPr>
            </a:lvl4pPr>
            <a:lvl5pPr marL="1371600" indent="0">
              <a:buFont typeface="Arial" panose="020B0604020202020204" pitchFamily="34" charset="0"/>
              <a:buNone/>
              <a:defRPr lang="en-GB">
                <a:latin typeface="+mj-lt"/>
              </a:defRPr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title</a:t>
            </a:r>
            <a:endParaRPr lang="en-GB"/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3BCE871C-67DF-40E4-8C58-AD24E23D7BC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69071" y="1449390"/>
            <a:ext cx="5328592" cy="1859441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18BB8E70-12E9-4307-A0DF-7FE0646BCD9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69071" y="3308829"/>
            <a:ext cx="5328592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19811ED1-7222-4F49-8019-F2AE74AE56A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69073" y="4433926"/>
            <a:ext cx="5328578" cy="169541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50" dirty="0" smtClean="0"/>
            </a:lvl1pPr>
            <a:lvl2pPr>
              <a:defRPr lang="en-US" sz="1050" dirty="0" smtClean="0"/>
            </a:lvl2pPr>
            <a:lvl3pPr>
              <a:defRPr lang="en-US" sz="1050" dirty="0" smtClean="0"/>
            </a:lvl3pPr>
            <a:lvl4pPr>
              <a:defRPr lang="en-US" sz="1050" dirty="0" smtClean="0"/>
            </a:lvl4pPr>
            <a:lvl5pPr>
              <a:defRPr lang="en-GB" sz="10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3E414756-6A96-4611-BC68-2A41F84A67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69073" y="3994666"/>
            <a:ext cx="5328578" cy="323946"/>
          </a:xfr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mtClean="0">
                <a:latin typeface="Arial" panose="020B0604020202020204" pitchFamily="34" charset="0"/>
              </a:defRPr>
            </a:lvl1pPr>
            <a:lvl2pPr marL="342900" indent="0">
              <a:buFont typeface="Arial" panose="020B0604020202020204" pitchFamily="34" charset="0"/>
              <a:buNone/>
              <a:defRPr lang="en-US" smtClean="0">
                <a:latin typeface="+mj-lt"/>
              </a:defRPr>
            </a:lvl2pPr>
            <a:lvl3pPr marL="685800" indent="0">
              <a:buFont typeface="Arial" panose="020B0604020202020204" pitchFamily="34" charset="0"/>
              <a:buNone/>
              <a:defRPr lang="en-US" smtClean="0">
                <a:latin typeface="+mj-lt"/>
              </a:defRPr>
            </a:lvl3pPr>
            <a:lvl4pPr marL="1028700" indent="0">
              <a:buFont typeface="Arial" panose="020B0604020202020204" pitchFamily="34" charset="0"/>
              <a:buNone/>
              <a:defRPr lang="en-US" smtClean="0">
                <a:latin typeface="+mj-lt"/>
              </a:defRPr>
            </a:lvl4pPr>
            <a:lvl5pPr marL="1371600" indent="0">
              <a:buFont typeface="Arial" panose="020B0604020202020204" pitchFamily="34" charset="0"/>
              <a:buNone/>
              <a:defRPr lang="en-GB">
                <a:latin typeface="+mj-lt"/>
              </a:defRPr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786054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5D3A4F-C11A-480D-B249-1B3A0A517F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776" y="1213252"/>
            <a:ext cx="11337924" cy="343161"/>
          </a:xfrm>
        </p:spPr>
        <p:txBody>
          <a:bodyPr vert="horz" lIns="0" tIns="0" rIns="0" bIns="0" rtlCol="0">
            <a:noAutofit/>
          </a:bodyPr>
          <a:lstStyle>
            <a:lvl1pPr>
              <a:defRPr lang="en-GB" sz="15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Add sub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FAFE8B-1D42-460B-875F-B063FE652E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8" y="1628777"/>
            <a:ext cx="5328591" cy="45005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50" dirty="0"/>
            </a:lvl1pPr>
            <a:lvl2pPr>
              <a:defRPr lang="en-US" sz="1350" dirty="0"/>
            </a:lvl2pPr>
            <a:lvl3pPr>
              <a:defRPr lang="en-US" sz="1350" dirty="0"/>
            </a:lvl3pPr>
            <a:lvl4pPr>
              <a:defRPr lang="en-US" sz="1350" dirty="0"/>
            </a:lvl4pPr>
            <a:lvl5pPr>
              <a:defRPr lang="en-GB" sz="13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FB985924-B690-4F6B-A059-A5678494932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358060" y="1628777"/>
            <a:ext cx="5328591" cy="45005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50" dirty="0"/>
            </a:lvl1pPr>
            <a:lvl2pPr>
              <a:defRPr lang="en-US" sz="1350" dirty="0"/>
            </a:lvl2pPr>
            <a:lvl3pPr>
              <a:defRPr lang="en-US" sz="1350" dirty="0"/>
            </a:lvl3pPr>
            <a:lvl4pPr>
              <a:defRPr lang="en-US" sz="1350" dirty="0"/>
            </a:lvl4pPr>
            <a:lvl5pPr>
              <a:defRPr lang="en-GB" sz="13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97674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&amp; grey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6416598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5D3A4F-C11A-480D-B249-1B3A0A517F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774" y="1213252"/>
            <a:ext cx="6416598" cy="343161"/>
          </a:xfrm>
        </p:spPr>
        <p:txBody>
          <a:bodyPr vert="horz" lIns="0" tIns="0" rIns="0" bIns="0" rtlCol="0">
            <a:noAutofit/>
          </a:bodyPr>
          <a:lstStyle>
            <a:lvl1pPr>
              <a:defRPr lang="en-GB" sz="15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Add sub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FAFE8B-1D42-460B-875F-B063FE652E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6" y="1628777"/>
            <a:ext cx="6416596" cy="45005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50" dirty="0"/>
            </a:lvl1pPr>
            <a:lvl2pPr>
              <a:defRPr lang="en-US" sz="1350" dirty="0"/>
            </a:lvl2pPr>
            <a:lvl3pPr>
              <a:defRPr lang="en-US" sz="1350" dirty="0"/>
            </a:lvl3pPr>
            <a:lvl4pPr>
              <a:defRPr lang="en-US" sz="1350" dirty="0"/>
            </a:lvl4pPr>
            <a:lvl5pPr>
              <a:defRPr lang="en-GB" sz="13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E461228-2A69-42BE-A4E4-3FAE975C4E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27067" y="445814"/>
            <a:ext cx="4468550" cy="5683525"/>
          </a:xfrm>
          <a:noFill/>
          <a:ln w="19050">
            <a:solidFill>
              <a:schemeClr val="tx2"/>
            </a:solidFill>
          </a:ln>
        </p:spPr>
        <p:txBody>
          <a:bodyPr vert="horz" lIns="180000" tIns="180000" rIns="180000" bIns="180000" rtlCol="0">
            <a:noAutofit/>
          </a:bodyPr>
          <a:lstStyle>
            <a:lvl1pPr marL="0" indent="0">
              <a:buNone/>
              <a:defRPr lang="en-GB" sz="1350" dirty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body copy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102982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, text box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6416598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5D3A4F-C11A-480D-B249-1B3A0A517F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774" y="1213252"/>
            <a:ext cx="6416598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GB" sz="15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  <a:spcAft>
                <a:spcPts val="0"/>
              </a:spcAft>
            </a:pPr>
            <a:r>
              <a:rPr lang="en-US"/>
              <a:t>Add sub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FAFE8B-1D42-460B-875F-B063FE652E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6" y="1628777"/>
            <a:ext cx="6416596" cy="45005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50" dirty="0"/>
            </a:lvl1pPr>
            <a:lvl2pPr>
              <a:defRPr lang="en-US" sz="1350" dirty="0"/>
            </a:lvl2pPr>
            <a:lvl3pPr>
              <a:defRPr lang="en-US" sz="1350" dirty="0"/>
            </a:lvl3pPr>
            <a:lvl4pPr>
              <a:defRPr lang="en-US" sz="1350" dirty="0"/>
            </a:lvl4pPr>
            <a:lvl5pPr>
              <a:defRPr lang="en-GB" sz="13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E461228-2A69-42BE-A4E4-3FAE975C4E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27067" y="445812"/>
            <a:ext cx="4468550" cy="2693996"/>
          </a:xfrm>
          <a:noFill/>
          <a:ln w="19050">
            <a:solidFill>
              <a:schemeClr val="accent1"/>
            </a:solidFill>
          </a:ln>
        </p:spPr>
        <p:txBody>
          <a:bodyPr vert="horz" lIns="180000" tIns="180000" rIns="180000" bIns="180000" rtlCol="0">
            <a:noAutofit/>
          </a:bodyPr>
          <a:lstStyle>
            <a:lvl1pPr marL="0" indent="0">
              <a:buNone/>
              <a:defRPr lang="en-GB" dirty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body copy</a:t>
            </a:r>
            <a:endParaRPr lang="en-GB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35BB7F6E-5153-4780-80FD-C3880708F54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227068" y="3429001"/>
            <a:ext cx="4471858" cy="2211386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9F34B7CA-F8C7-4C5F-BB60-E4395928D4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27068" y="5640389"/>
            <a:ext cx="4471858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262140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, solid red text box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6416598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5D3A4F-C11A-480D-B249-1B3A0A517F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774" y="1213252"/>
            <a:ext cx="6416598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GB" sz="15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  <a:spcAft>
                <a:spcPts val="0"/>
              </a:spcAft>
            </a:pPr>
            <a:r>
              <a:rPr lang="en-US"/>
              <a:t>Add sub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FAFE8B-1D42-460B-875F-B063FE652E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6" y="1628777"/>
            <a:ext cx="6416596" cy="45005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50" dirty="0"/>
            </a:lvl1pPr>
            <a:lvl2pPr>
              <a:defRPr lang="en-US" sz="1350" dirty="0"/>
            </a:lvl2pPr>
            <a:lvl3pPr>
              <a:defRPr lang="en-US" sz="1350" dirty="0"/>
            </a:lvl3pPr>
            <a:lvl4pPr>
              <a:defRPr lang="en-US" sz="1350" dirty="0"/>
            </a:lvl4pPr>
            <a:lvl5pPr>
              <a:defRPr lang="en-GB" sz="13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E461228-2A69-42BE-A4E4-3FAE975C4E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27067" y="445812"/>
            <a:ext cx="4468550" cy="2693996"/>
          </a:xfrm>
          <a:solidFill>
            <a:schemeClr val="accent1"/>
          </a:solidFill>
          <a:ln w="19050">
            <a:solidFill>
              <a:schemeClr val="accent1"/>
            </a:solidFill>
          </a:ln>
        </p:spPr>
        <p:txBody>
          <a:bodyPr vert="horz" lIns="180000" tIns="180000" rIns="180000" bIns="180000" rtlCol="0">
            <a:noAutofit/>
          </a:bodyPr>
          <a:lstStyle>
            <a:lvl1pPr marL="0" indent="0">
              <a:buNone/>
              <a:defRPr lang="en-GB" dirty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body copy</a:t>
            </a:r>
            <a:endParaRPr lang="en-GB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35BB7F6E-5153-4780-80FD-C3880708F54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227068" y="3429001"/>
            <a:ext cx="4471858" cy="2211386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9F34B7CA-F8C7-4C5F-BB60-E4395928D4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27068" y="5640389"/>
            <a:ext cx="4471858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60132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on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23428CF-B158-4BBE-BBB6-25EEAEE042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72156" y="1022790"/>
            <a:ext cx="8647689" cy="4812420"/>
          </a:xfrm>
          <a:prstGeom prst="rect">
            <a:avLst/>
          </a:prstGeom>
        </p:spPr>
      </p:pic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FA5E02CB-C8D8-4B09-9213-EAFF4F0516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8" y="6129339"/>
            <a:ext cx="7166539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</p:spTree>
    <p:extLst>
      <p:ext uri="{BB962C8B-B14F-4D97-AF65-F5344CB8AC3E}">
        <p14:creationId xmlns:p14="http://schemas.microsoft.com/office/powerpoint/2010/main" val="183873031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6416598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5D3A4F-C11A-480D-B249-1B3A0A517F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774" y="1213252"/>
            <a:ext cx="6416598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GB" sz="15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  <a:spcAft>
                <a:spcPts val="0"/>
              </a:spcAft>
            </a:pPr>
            <a:r>
              <a:rPr lang="en-US"/>
              <a:t>Add sub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FAFE8B-1D42-460B-875F-B063FE652E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6" y="1628777"/>
            <a:ext cx="6416596" cy="45005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50" dirty="0"/>
            </a:lvl1pPr>
            <a:lvl2pPr>
              <a:defRPr lang="en-US" sz="1350" dirty="0"/>
            </a:lvl2pPr>
            <a:lvl3pPr>
              <a:defRPr lang="en-US" sz="1350" dirty="0"/>
            </a:lvl3pPr>
            <a:lvl4pPr>
              <a:defRPr lang="en-US" sz="1350" dirty="0"/>
            </a:lvl4pPr>
            <a:lvl5pPr>
              <a:defRPr lang="en-GB" sz="13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35BB7F6E-5153-4780-80FD-C3880708F54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227068" y="441325"/>
            <a:ext cx="4471858" cy="5199062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9F34B7CA-F8C7-4C5F-BB60-E4395928D4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27068" y="5640389"/>
            <a:ext cx="4471858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Font typeface="Arial" panose="020B0604020202020204" pitchFamily="34" charset="0"/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817253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 with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5D3A4F-C11A-480D-B249-1B3A0A517F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776" y="1213252"/>
            <a:ext cx="11337924" cy="343161"/>
          </a:xfrm>
        </p:spPr>
        <p:txBody>
          <a:bodyPr vert="horz" lIns="0" tIns="0" rIns="0" bIns="0" rtlCol="0">
            <a:noAutofit/>
          </a:bodyPr>
          <a:lstStyle>
            <a:lvl1pPr>
              <a:defRPr lang="en-GB" sz="15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Add sub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FAFE8B-1D42-460B-875F-B063FE652E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8" y="1628777"/>
            <a:ext cx="5328591" cy="45005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50" dirty="0"/>
            </a:lvl1pPr>
            <a:lvl2pPr>
              <a:defRPr lang="en-US" sz="1350" dirty="0"/>
            </a:lvl2pPr>
            <a:lvl3pPr>
              <a:defRPr lang="en-US" sz="1350" dirty="0"/>
            </a:lvl3pPr>
            <a:lvl4pPr>
              <a:defRPr lang="en-US" sz="1350" dirty="0"/>
            </a:lvl4pPr>
            <a:lvl5pPr>
              <a:defRPr lang="en-GB" sz="13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FB985924-B690-4F6B-A059-A5678494932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358060" y="1628777"/>
            <a:ext cx="5328591" cy="45005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50" dirty="0"/>
            </a:lvl1pPr>
            <a:lvl2pPr>
              <a:defRPr lang="en-US" sz="1350" dirty="0"/>
            </a:lvl2pPr>
            <a:lvl3pPr>
              <a:defRPr lang="en-US" sz="1350" dirty="0"/>
            </a:lvl3pPr>
            <a:lvl4pPr>
              <a:defRPr lang="en-US" sz="1350" dirty="0"/>
            </a:lvl4pPr>
            <a:lvl5pPr>
              <a:defRPr lang="en-GB" sz="13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DFD8DC6-333F-4D12-B2B1-E0CC8E63A54F}"/>
              </a:ext>
            </a:extLst>
          </p:cNvPr>
          <p:cNvCxnSpPr/>
          <p:nvPr userDrawn="1"/>
        </p:nvCxnSpPr>
        <p:spPr>
          <a:xfrm>
            <a:off x="6022714" y="1628775"/>
            <a:ext cx="0" cy="4500562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701952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 with callout box red outline R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5C0EDA6-30BF-40CD-8F70-325FE9113C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39521" y="1449389"/>
            <a:ext cx="2556097" cy="4679947"/>
          </a:xfrm>
          <a:noFill/>
          <a:ln w="19050">
            <a:solidFill>
              <a:schemeClr val="accent1"/>
            </a:solidFill>
          </a:ln>
        </p:spPr>
        <p:txBody>
          <a:bodyPr vert="horz" lIns="180000" tIns="180000" rIns="180000" bIns="180000" rtlCol="0">
            <a:noAutofit/>
          </a:bodyPr>
          <a:lstStyle>
            <a:lvl1pPr marL="0" indent="0">
              <a:buNone/>
              <a:defRPr lang="en-GB" dirty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body copy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FAFE8B-1D42-460B-875F-B063FE652E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8" y="1449388"/>
            <a:ext cx="4007130" cy="46799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50" dirty="0"/>
            </a:lvl1pPr>
            <a:lvl2pPr>
              <a:defRPr lang="en-US" sz="1350" dirty="0"/>
            </a:lvl2pPr>
            <a:lvl3pPr>
              <a:defRPr lang="en-US" sz="1350" dirty="0"/>
            </a:lvl3pPr>
            <a:lvl4pPr>
              <a:defRPr lang="en-US" sz="1350" dirty="0"/>
            </a:lvl4pPr>
            <a:lvl5pPr>
              <a:defRPr lang="en-GB" sz="13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C3891F6E-543C-4D7C-BBAA-7E44B1B53ED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76895" y="1449388"/>
            <a:ext cx="4007130" cy="46799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50" dirty="0"/>
            </a:lvl1pPr>
            <a:lvl2pPr>
              <a:defRPr lang="en-US" sz="1350" dirty="0"/>
            </a:lvl2pPr>
            <a:lvl3pPr>
              <a:defRPr lang="en-US" sz="1350" dirty="0"/>
            </a:lvl3pPr>
            <a:lvl4pPr>
              <a:defRPr lang="en-US" sz="1350" dirty="0"/>
            </a:lvl4pPr>
            <a:lvl5pPr>
              <a:defRPr lang="en-GB" sz="13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E2E842B-ECEA-499C-9002-362C557148D0}"/>
              </a:ext>
            </a:extLst>
          </p:cNvPr>
          <p:cNvCxnSpPr>
            <a:cxnSpLocks/>
          </p:cNvCxnSpPr>
          <p:nvPr userDrawn="1"/>
        </p:nvCxnSpPr>
        <p:spPr>
          <a:xfrm>
            <a:off x="4621401" y="1449388"/>
            <a:ext cx="0" cy="4679949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231568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 with callout box red solid R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E920C8B-DED1-4B6E-9C0F-FB38E253CA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39521" y="1449389"/>
            <a:ext cx="2556097" cy="4679946"/>
          </a:xfrm>
          <a:solidFill>
            <a:schemeClr val="accent1"/>
          </a:solidFill>
          <a:ln w="19050">
            <a:solidFill>
              <a:schemeClr val="accent1"/>
            </a:solidFill>
          </a:ln>
        </p:spPr>
        <p:txBody>
          <a:bodyPr vert="horz" lIns="180000" tIns="180000" rIns="180000" bIns="180000" rtlCol="0">
            <a:noAutofit/>
          </a:bodyPr>
          <a:lstStyle>
            <a:lvl1pPr marL="0" indent="0">
              <a:lnSpc>
                <a:spcPct val="120000"/>
              </a:lnSpc>
              <a:spcAft>
                <a:spcPts val="450"/>
              </a:spcAft>
              <a:buNone/>
              <a:defRPr lang="en-US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71450" lvl="0" indent="-171450"/>
            <a:r>
              <a:rPr lang="en-US"/>
              <a:t>Add body copy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FAFE8B-1D42-460B-875F-B063FE652E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8" y="1449390"/>
            <a:ext cx="4007130" cy="467994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50" dirty="0"/>
            </a:lvl1pPr>
            <a:lvl2pPr>
              <a:defRPr lang="en-US" sz="1350" dirty="0"/>
            </a:lvl2pPr>
            <a:lvl3pPr>
              <a:defRPr lang="en-US" sz="1350" dirty="0"/>
            </a:lvl3pPr>
            <a:lvl4pPr>
              <a:defRPr lang="en-US" sz="1350" dirty="0"/>
            </a:lvl4pPr>
            <a:lvl5pPr>
              <a:defRPr lang="en-GB" sz="13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C3891F6E-543C-4D7C-BBAA-7E44B1B53ED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76895" y="1449390"/>
            <a:ext cx="4007130" cy="467994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50" dirty="0"/>
            </a:lvl1pPr>
            <a:lvl2pPr>
              <a:defRPr lang="en-US" sz="1350" dirty="0"/>
            </a:lvl2pPr>
            <a:lvl3pPr>
              <a:defRPr lang="en-US" sz="1350" dirty="0"/>
            </a:lvl3pPr>
            <a:lvl4pPr>
              <a:defRPr lang="en-US" sz="1350" dirty="0"/>
            </a:lvl4pPr>
            <a:lvl5pPr>
              <a:defRPr lang="en-GB" sz="13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E2E842B-ECEA-499C-9002-362C557148D0}"/>
              </a:ext>
            </a:extLst>
          </p:cNvPr>
          <p:cNvCxnSpPr>
            <a:cxnSpLocks/>
          </p:cNvCxnSpPr>
          <p:nvPr userDrawn="1"/>
        </p:nvCxnSpPr>
        <p:spPr>
          <a:xfrm>
            <a:off x="4621401" y="1449389"/>
            <a:ext cx="0" cy="4679948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93088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 with callout box red outline L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5456429-D2D5-4AC3-84BC-F74857CDDD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8779" y="1449389"/>
            <a:ext cx="2556097" cy="4679947"/>
          </a:xfrm>
          <a:noFill/>
          <a:ln w="19050">
            <a:solidFill>
              <a:schemeClr val="accent1"/>
            </a:solidFill>
          </a:ln>
        </p:spPr>
        <p:txBody>
          <a:bodyPr vert="horz" lIns="180000" tIns="180000" rIns="180000" bIns="180000" rtlCol="0">
            <a:noAutofit/>
          </a:bodyPr>
          <a:lstStyle>
            <a:lvl1pPr marL="0" indent="0">
              <a:buNone/>
              <a:defRPr lang="en-GB" dirty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body copy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FAFE8B-1D42-460B-875F-B063FE652E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170732" y="1449388"/>
            <a:ext cx="4007130" cy="46799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50" dirty="0"/>
            </a:lvl1pPr>
            <a:lvl2pPr>
              <a:defRPr lang="en-US" sz="1350" dirty="0"/>
            </a:lvl2pPr>
            <a:lvl3pPr>
              <a:defRPr lang="en-US" sz="1350" dirty="0"/>
            </a:lvl3pPr>
            <a:lvl4pPr>
              <a:defRPr lang="en-US" sz="1350" dirty="0"/>
            </a:lvl4pPr>
            <a:lvl5pPr>
              <a:defRPr lang="en-GB" sz="13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C3891F6E-543C-4D7C-BBAA-7E44B1B53ED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689572" y="1449388"/>
            <a:ext cx="4007130" cy="46799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50" dirty="0"/>
            </a:lvl1pPr>
            <a:lvl2pPr>
              <a:defRPr lang="en-US" sz="1350" dirty="0"/>
            </a:lvl2pPr>
            <a:lvl3pPr>
              <a:defRPr lang="en-US" sz="1350" dirty="0"/>
            </a:lvl3pPr>
            <a:lvl4pPr>
              <a:defRPr lang="en-US" sz="1350" dirty="0"/>
            </a:lvl4pPr>
            <a:lvl5pPr>
              <a:defRPr lang="en-GB" sz="13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E2E842B-ECEA-499C-9002-362C557148D0}"/>
              </a:ext>
            </a:extLst>
          </p:cNvPr>
          <p:cNvCxnSpPr>
            <a:cxnSpLocks/>
          </p:cNvCxnSpPr>
          <p:nvPr userDrawn="1"/>
        </p:nvCxnSpPr>
        <p:spPr>
          <a:xfrm>
            <a:off x="7433714" y="1449388"/>
            <a:ext cx="0" cy="4679949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370616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 with callout box red solid L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FAFE8B-1D42-460B-875F-B063FE652E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170732" y="1449390"/>
            <a:ext cx="4007130" cy="467994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50" dirty="0"/>
            </a:lvl1pPr>
            <a:lvl2pPr>
              <a:defRPr lang="en-US" sz="1350" dirty="0"/>
            </a:lvl2pPr>
            <a:lvl3pPr>
              <a:defRPr lang="en-US" sz="1350" dirty="0"/>
            </a:lvl3pPr>
            <a:lvl4pPr>
              <a:defRPr lang="en-US" sz="1350" dirty="0"/>
            </a:lvl4pPr>
            <a:lvl5pPr>
              <a:defRPr lang="en-GB" sz="13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C3891F6E-543C-4D7C-BBAA-7E44B1B53ED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689572" y="1449390"/>
            <a:ext cx="4007130" cy="467994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50" dirty="0"/>
            </a:lvl1pPr>
            <a:lvl2pPr>
              <a:defRPr lang="en-US" sz="1350" dirty="0"/>
            </a:lvl2pPr>
            <a:lvl3pPr>
              <a:defRPr lang="en-US" sz="1350" dirty="0"/>
            </a:lvl3pPr>
            <a:lvl4pPr>
              <a:defRPr lang="en-US" sz="1350" dirty="0"/>
            </a:lvl4pPr>
            <a:lvl5pPr>
              <a:defRPr lang="en-GB" sz="13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E2E842B-ECEA-499C-9002-362C557148D0}"/>
              </a:ext>
            </a:extLst>
          </p:cNvPr>
          <p:cNvCxnSpPr>
            <a:cxnSpLocks/>
          </p:cNvCxnSpPr>
          <p:nvPr userDrawn="1"/>
        </p:nvCxnSpPr>
        <p:spPr>
          <a:xfrm>
            <a:off x="7433714" y="1449389"/>
            <a:ext cx="0" cy="4679948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66D40E-2B2C-466A-B2D7-1990CACF1C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8777" y="1449389"/>
            <a:ext cx="2556097" cy="4679946"/>
          </a:xfrm>
          <a:solidFill>
            <a:schemeClr val="accent1"/>
          </a:solidFill>
          <a:ln w="19050">
            <a:solidFill>
              <a:schemeClr val="accent1"/>
            </a:solidFill>
          </a:ln>
        </p:spPr>
        <p:txBody>
          <a:bodyPr vert="horz" lIns="180000" tIns="180000" rIns="180000" bIns="180000" rtlCol="0">
            <a:noAutofit/>
          </a:bodyPr>
          <a:lstStyle>
            <a:lvl1pPr marL="0" indent="0">
              <a:buNone/>
              <a:defRPr lang="en-GB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body copy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073716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graph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AE376A4-7281-4F17-A9FD-693411D937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39567" y="1457197"/>
            <a:ext cx="8112870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GB" sz="13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  <a:spcAft>
                <a:spcPts val="0"/>
              </a:spcAft>
            </a:pPr>
            <a:r>
              <a:rPr lang="en-US"/>
              <a:t>Add graph title</a:t>
            </a:r>
            <a:endParaRPr lang="en-GB"/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8EFF319E-6DBC-44DF-A53F-FCD666A4AD0D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2039832" y="1999130"/>
            <a:ext cx="8112338" cy="3854824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33755BA-71D4-4CBA-B704-A972C8D5EF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039567" y="6024286"/>
            <a:ext cx="8112870" cy="16780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675" i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mtClean="0">
                <a:latin typeface="+mj-lt"/>
              </a:defRPr>
            </a:lvl2pPr>
            <a:lvl3pPr>
              <a:defRPr lang="en-US" smtClean="0">
                <a:latin typeface="+mj-lt"/>
              </a:defRPr>
            </a:lvl3pPr>
            <a:lvl4pPr>
              <a:defRPr lang="en-US" smtClean="0">
                <a:latin typeface="+mj-lt"/>
              </a:defRPr>
            </a:lvl4pPr>
            <a:lvl5pPr>
              <a:defRPr lang="en-GB">
                <a:latin typeface="+mj-lt"/>
              </a:defRPr>
            </a:lvl5pPr>
          </a:lstStyle>
          <a:p>
            <a:pPr marL="171450" lvl="0" indent="-171450"/>
            <a:r>
              <a:rPr lang="en-US"/>
              <a:t>Add footnote/sourc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512712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graph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DFD8DC6-333F-4D12-B2B1-E0CC8E63A54F}"/>
              </a:ext>
            </a:extLst>
          </p:cNvPr>
          <p:cNvCxnSpPr>
            <a:cxnSpLocks/>
          </p:cNvCxnSpPr>
          <p:nvPr userDrawn="1"/>
        </p:nvCxnSpPr>
        <p:spPr>
          <a:xfrm>
            <a:off x="6022714" y="1449388"/>
            <a:ext cx="0" cy="4679949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AE376A4-7281-4F17-A9FD-693411D937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7" y="1457197"/>
            <a:ext cx="5328000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GB" sz="13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  <a:spcAft>
                <a:spcPts val="0"/>
              </a:spcAft>
            </a:pPr>
            <a:r>
              <a:rPr lang="en-US"/>
              <a:t>Add graph title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1E8DC738-4037-4237-BAB7-86B39D39E3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58059" y="1457197"/>
            <a:ext cx="5328000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GB" sz="13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  <a:spcAft>
                <a:spcPts val="0"/>
              </a:spcAft>
            </a:pPr>
            <a:r>
              <a:rPr lang="en-US"/>
              <a:t>Add graph title</a:t>
            </a:r>
            <a:endParaRPr lang="en-GB"/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8EFF319E-6DBC-44DF-A53F-FCD666A4AD0D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358776" y="1999130"/>
            <a:ext cx="5327650" cy="3854824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11" name="Chart Placeholder 9">
            <a:extLst>
              <a:ext uri="{FF2B5EF4-FFF2-40B4-BE49-F238E27FC236}">
                <a16:creationId xmlns:a16="http://schemas.microsoft.com/office/drawing/2014/main" id="{59693680-0040-4E91-884A-D427AF4875DC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6358059" y="1999130"/>
            <a:ext cx="5327650" cy="3854824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33755BA-71D4-4CBA-B704-A972C8D5EF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8777" y="6024286"/>
            <a:ext cx="5328000" cy="16780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675" i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mtClean="0">
                <a:latin typeface="+mj-lt"/>
              </a:defRPr>
            </a:lvl2pPr>
            <a:lvl3pPr>
              <a:defRPr lang="en-US" smtClean="0">
                <a:latin typeface="+mj-lt"/>
              </a:defRPr>
            </a:lvl3pPr>
            <a:lvl4pPr>
              <a:defRPr lang="en-US" smtClean="0">
                <a:latin typeface="+mj-lt"/>
              </a:defRPr>
            </a:lvl4pPr>
            <a:lvl5pPr>
              <a:defRPr lang="en-GB">
                <a:latin typeface="+mj-lt"/>
              </a:defRPr>
            </a:lvl5pPr>
          </a:lstStyle>
          <a:p>
            <a:pPr marL="171450" lvl="0" indent="-171450"/>
            <a:r>
              <a:rPr lang="en-US"/>
              <a:t>Add footnote/source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8F58ECE0-1B4F-46E5-BD09-716EBD33EB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58059" y="6024286"/>
            <a:ext cx="5328000" cy="16780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675" i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mtClean="0">
                <a:latin typeface="+mj-lt"/>
              </a:defRPr>
            </a:lvl2pPr>
            <a:lvl3pPr>
              <a:defRPr lang="en-US" smtClean="0">
                <a:latin typeface="+mj-lt"/>
              </a:defRPr>
            </a:lvl3pPr>
            <a:lvl4pPr>
              <a:defRPr lang="en-US" smtClean="0">
                <a:latin typeface="+mj-lt"/>
              </a:defRPr>
            </a:lvl4pPr>
            <a:lvl5pPr>
              <a:defRPr lang="en-GB">
                <a:latin typeface="+mj-lt"/>
              </a:defRPr>
            </a:lvl5pPr>
          </a:lstStyle>
          <a:p>
            <a:pPr marL="171450" lvl="0" indent="-171450"/>
            <a:r>
              <a:rPr lang="en-US"/>
              <a:t>Add footnote/sourc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544418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graphs with text &amp;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DFD8DC6-333F-4D12-B2B1-E0CC8E63A54F}"/>
              </a:ext>
            </a:extLst>
          </p:cNvPr>
          <p:cNvCxnSpPr>
            <a:cxnSpLocks/>
          </p:cNvCxnSpPr>
          <p:nvPr userDrawn="1"/>
        </p:nvCxnSpPr>
        <p:spPr>
          <a:xfrm>
            <a:off x="6022714" y="1449388"/>
            <a:ext cx="0" cy="4679949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AE376A4-7281-4F17-A9FD-693411D937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7" y="1457197"/>
            <a:ext cx="5328000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GB" sz="13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  <a:spcAft>
                <a:spcPts val="0"/>
              </a:spcAft>
            </a:pPr>
            <a:r>
              <a:rPr lang="en-US"/>
              <a:t>Add graph title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1E8DC738-4037-4237-BAB7-86B39D39E3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58059" y="1457197"/>
            <a:ext cx="5328000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GB" sz="13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  <a:spcAft>
                <a:spcPts val="0"/>
              </a:spcAft>
            </a:pPr>
            <a:r>
              <a:rPr lang="en-US"/>
              <a:t>Add graph title</a:t>
            </a:r>
            <a:endParaRPr lang="en-GB"/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8EFF319E-6DBC-44DF-A53F-FCD666A4AD0D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358776" y="1999133"/>
            <a:ext cx="5327650" cy="2411505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11" name="Chart Placeholder 9">
            <a:extLst>
              <a:ext uri="{FF2B5EF4-FFF2-40B4-BE49-F238E27FC236}">
                <a16:creationId xmlns:a16="http://schemas.microsoft.com/office/drawing/2014/main" id="{59693680-0040-4E91-884A-D427AF4875DC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6358059" y="1999133"/>
            <a:ext cx="5327650" cy="2411505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33755BA-71D4-4CBA-B704-A972C8D5EF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8777" y="6024286"/>
            <a:ext cx="5328000" cy="16780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675" i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mtClean="0">
                <a:latin typeface="+mj-lt"/>
              </a:defRPr>
            </a:lvl2pPr>
            <a:lvl3pPr>
              <a:defRPr lang="en-US" smtClean="0">
                <a:latin typeface="+mj-lt"/>
              </a:defRPr>
            </a:lvl3pPr>
            <a:lvl4pPr>
              <a:defRPr lang="en-US" smtClean="0">
                <a:latin typeface="+mj-lt"/>
              </a:defRPr>
            </a:lvl4pPr>
            <a:lvl5pPr>
              <a:defRPr lang="en-GB">
                <a:latin typeface="+mj-lt"/>
              </a:defRPr>
            </a:lvl5pPr>
          </a:lstStyle>
          <a:p>
            <a:pPr marL="171450" lvl="0" indent="-171450"/>
            <a:r>
              <a:rPr lang="en-US"/>
              <a:t>Add footnote/source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8F58ECE0-1B4F-46E5-BD09-716EBD33EB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58059" y="6024286"/>
            <a:ext cx="5328000" cy="16780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675" i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mtClean="0">
                <a:latin typeface="+mj-lt"/>
              </a:defRPr>
            </a:lvl2pPr>
            <a:lvl3pPr>
              <a:defRPr lang="en-US" smtClean="0">
                <a:latin typeface="+mj-lt"/>
              </a:defRPr>
            </a:lvl3pPr>
            <a:lvl4pPr>
              <a:defRPr lang="en-US" smtClean="0">
                <a:latin typeface="+mj-lt"/>
              </a:defRPr>
            </a:lvl4pPr>
            <a:lvl5pPr>
              <a:defRPr lang="en-GB">
                <a:latin typeface="+mj-lt"/>
              </a:defRPr>
            </a:lvl5pPr>
          </a:lstStyle>
          <a:p>
            <a:pPr marL="171450" lvl="0" indent="-171450"/>
            <a:r>
              <a:rPr lang="en-US"/>
              <a:t>Add footnote/sourc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486FD2-0742-409A-B501-45247128BE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8774" y="4544359"/>
            <a:ext cx="5327643" cy="1363382"/>
          </a:xfrm>
        </p:spPr>
        <p:txBody>
          <a:bodyPr/>
          <a:lstStyle>
            <a:lvl1pPr marL="101204" indent="-101204">
              <a:defRPr sz="1050"/>
            </a:lvl1pPr>
          </a:lstStyle>
          <a:p>
            <a:pPr lvl="0"/>
            <a:r>
              <a:rPr lang="en-US"/>
              <a:t>Add first level body copy</a:t>
            </a:r>
            <a:endParaRPr lang="en-GB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A5C67F9-AB20-4602-8838-A39953428D8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58060" y="4544359"/>
            <a:ext cx="5327643" cy="1363382"/>
          </a:xfrm>
        </p:spPr>
        <p:txBody>
          <a:bodyPr/>
          <a:lstStyle>
            <a:lvl1pPr marL="101204" indent="-101204">
              <a:defRPr sz="1050"/>
            </a:lvl1pPr>
          </a:lstStyle>
          <a:p>
            <a:pPr lvl="0"/>
            <a:r>
              <a:rPr lang="en-US"/>
              <a:t>Add first level body copy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983587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graphs with titles n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AE376A4-7281-4F17-A9FD-693411D937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7" y="1457197"/>
            <a:ext cx="5328000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GB" sz="13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  <a:spcAft>
                <a:spcPts val="0"/>
              </a:spcAft>
            </a:pPr>
            <a:r>
              <a:rPr lang="en-US"/>
              <a:t>Add graph title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1E8DC738-4037-4237-BAB7-86B39D39E3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58059" y="1457197"/>
            <a:ext cx="5328000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GB" sz="13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  <a:spcAft>
                <a:spcPts val="0"/>
              </a:spcAft>
            </a:pPr>
            <a:r>
              <a:rPr lang="en-US"/>
              <a:t>Add graph title</a:t>
            </a:r>
            <a:endParaRPr lang="en-GB"/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8EFF319E-6DBC-44DF-A53F-FCD666A4AD0D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358776" y="1999130"/>
            <a:ext cx="5327650" cy="3854824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11" name="Chart Placeholder 9">
            <a:extLst>
              <a:ext uri="{FF2B5EF4-FFF2-40B4-BE49-F238E27FC236}">
                <a16:creationId xmlns:a16="http://schemas.microsoft.com/office/drawing/2014/main" id="{59693680-0040-4E91-884A-D427AF4875DC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6358059" y="1999130"/>
            <a:ext cx="5327650" cy="3854824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33755BA-71D4-4CBA-B704-A972C8D5EF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8777" y="6024286"/>
            <a:ext cx="5328000" cy="16780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675" i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mtClean="0">
                <a:latin typeface="+mj-lt"/>
              </a:defRPr>
            </a:lvl2pPr>
            <a:lvl3pPr>
              <a:defRPr lang="en-US" smtClean="0">
                <a:latin typeface="+mj-lt"/>
              </a:defRPr>
            </a:lvl3pPr>
            <a:lvl4pPr>
              <a:defRPr lang="en-US" smtClean="0">
                <a:latin typeface="+mj-lt"/>
              </a:defRPr>
            </a:lvl4pPr>
            <a:lvl5pPr>
              <a:defRPr lang="en-GB">
                <a:latin typeface="+mj-lt"/>
              </a:defRPr>
            </a:lvl5pPr>
          </a:lstStyle>
          <a:p>
            <a:pPr marL="171450" lvl="0" indent="-171450"/>
            <a:r>
              <a:rPr lang="en-US"/>
              <a:t>Add footnote/source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8F58ECE0-1B4F-46E5-BD09-716EBD33EB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58059" y="6024286"/>
            <a:ext cx="5328000" cy="16780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675" i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mtClean="0">
                <a:latin typeface="+mj-lt"/>
              </a:defRPr>
            </a:lvl2pPr>
            <a:lvl3pPr>
              <a:defRPr lang="en-US" smtClean="0">
                <a:latin typeface="+mj-lt"/>
              </a:defRPr>
            </a:lvl3pPr>
            <a:lvl4pPr>
              <a:defRPr lang="en-US" smtClean="0">
                <a:latin typeface="+mj-lt"/>
              </a:defRPr>
            </a:lvl4pPr>
            <a:lvl5pPr>
              <a:defRPr lang="en-GB">
                <a:latin typeface="+mj-lt"/>
              </a:defRPr>
            </a:lvl5pPr>
          </a:lstStyle>
          <a:p>
            <a:pPr marL="171450" lvl="0" indent="-171450"/>
            <a:r>
              <a:rPr lang="en-US"/>
              <a:t>Add footnote/sourc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62323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on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BA9BB90F-B29C-4CA6-8A79-ABFA45FF9FA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72156" y="1023782"/>
            <a:ext cx="8647689" cy="4810438"/>
          </a:xfrm>
          <a:prstGeom prst="rect">
            <a:avLst/>
          </a:prstGeom>
        </p:spPr>
      </p:pic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4F6556E1-26D3-4635-B9FE-591097252A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8" y="6129339"/>
            <a:ext cx="7166539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</p:spTree>
    <p:extLst>
      <p:ext uri="{BB962C8B-B14F-4D97-AF65-F5344CB8AC3E}">
        <p14:creationId xmlns:p14="http://schemas.microsoft.com/office/powerpoint/2010/main" val="6102381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box &amp; graph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DFD8DC6-333F-4D12-B2B1-E0CC8E63A54F}"/>
              </a:ext>
            </a:extLst>
          </p:cNvPr>
          <p:cNvCxnSpPr>
            <a:cxnSpLocks/>
          </p:cNvCxnSpPr>
          <p:nvPr userDrawn="1"/>
        </p:nvCxnSpPr>
        <p:spPr>
          <a:xfrm>
            <a:off x="6022714" y="1449388"/>
            <a:ext cx="0" cy="4679949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AE376A4-7281-4F17-A9FD-693411D937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7" y="1457197"/>
            <a:ext cx="5328000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GB" sz="13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  <a:spcAft>
                <a:spcPts val="0"/>
              </a:spcAft>
            </a:pPr>
            <a:r>
              <a:rPr lang="en-US"/>
              <a:t>Add title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1E8DC738-4037-4237-BAB7-86B39D39E3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58059" y="1457197"/>
            <a:ext cx="5328000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GB" sz="13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  <a:spcAft>
                <a:spcPts val="0"/>
              </a:spcAft>
            </a:pPr>
            <a:r>
              <a:rPr lang="en-US"/>
              <a:t>Add graph title</a:t>
            </a:r>
            <a:endParaRPr lang="en-GB"/>
          </a:p>
        </p:txBody>
      </p:sp>
      <p:sp>
        <p:nvSpPr>
          <p:cNvPr id="11" name="Chart Placeholder 9">
            <a:extLst>
              <a:ext uri="{FF2B5EF4-FFF2-40B4-BE49-F238E27FC236}">
                <a16:creationId xmlns:a16="http://schemas.microsoft.com/office/drawing/2014/main" id="{59693680-0040-4E91-884A-D427AF4875DC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6358059" y="1999130"/>
            <a:ext cx="5327650" cy="3854824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8F58ECE0-1B4F-46E5-BD09-716EBD33EB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58059" y="6024286"/>
            <a:ext cx="5328000" cy="16780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675" i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mtClean="0">
                <a:latin typeface="+mj-lt"/>
              </a:defRPr>
            </a:lvl2pPr>
            <a:lvl3pPr>
              <a:defRPr lang="en-US" smtClean="0">
                <a:latin typeface="+mj-lt"/>
              </a:defRPr>
            </a:lvl3pPr>
            <a:lvl4pPr>
              <a:defRPr lang="en-US" smtClean="0">
                <a:latin typeface="+mj-lt"/>
              </a:defRPr>
            </a:lvl4pPr>
            <a:lvl5pPr>
              <a:defRPr lang="en-GB">
                <a:latin typeface="+mj-lt"/>
              </a:defRPr>
            </a:lvl5pPr>
          </a:lstStyle>
          <a:p>
            <a:pPr marL="171450" lvl="0" indent="-171450"/>
            <a:r>
              <a:rPr lang="en-US"/>
              <a:t>Add footnote/source</a:t>
            </a:r>
            <a:endParaRPr lang="en-GB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1A5B07B7-037F-468E-8448-5A29FA5C178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8" y="1999133"/>
            <a:ext cx="5328591" cy="413020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50" dirty="0"/>
            </a:lvl1pPr>
            <a:lvl2pPr>
              <a:defRPr lang="en-US" sz="1350" dirty="0"/>
            </a:lvl2pPr>
            <a:lvl3pPr>
              <a:defRPr lang="en-US" sz="1350" dirty="0"/>
            </a:lvl3pPr>
            <a:lvl4pPr>
              <a:defRPr lang="en-US" sz="1350" dirty="0"/>
            </a:lvl4pPr>
            <a:lvl5pPr>
              <a:defRPr lang="en-GB" sz="135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806058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graph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DFD8DC6-333F-4D12-B2B1-E0CC8E63A54F}"/>
              </a:ext>
            </a:extLst>
          </p:cNvPr>
          <p:cNvCxnSpPr>
            <a:cxnSpLocks/>
          </p:cNvCxnSpPr>
          <p:nvPr userDrawn="1"/>
        </p:nvCxnSpPr>
        <p:spPr>
          <a:xfrm>
            <a:off x="7990390" y="1449388"/>
            <a:ext cx="0" cy="4679949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AE376A4-7281-4F17-A9FD-693411D937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8" y="1457197"/>
            <a:ext cx="3487312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GB" sz="13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  <a:spcAft>
                <a:spcPts val="0"/>
              </a:spcAft>
            </a:pPr>
            <a:r>
              <a:rPr lang="en-US"/>
              <a:t>Add graph title</a:t>
            </a:r>
            <a:endParaRPr lang="en-GB"/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8EFF319E-6DBC-44DF-A53F-FCD666A4AD0D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358775" y="1999130"/>
            <a:ext cx="3487083" cy="3738282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GB"/>
              <a:t>Add graph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B1D0B4F-4C26-470A-9E53-C4AAD8791734}"/>
              </a:ext>
            </a:extLst>
          </p:cNvPr>
          <p:cNvCxnSpPr>
            <a:cxnSpLocks/>
          </p:cNvCxnSpPr>
          <p:nvPr userDrawn="1"/>
        </p:nvCxnSpPr>
        <p:spPr>
          <a:xfrm>
            <a:off x="4065086" y="1449388"/>
            <a:ext cx="0" cy="4679949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BFDE300-6665-4B15-B788-A2FFCDB4D52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84082" y="1457197"/>
            <a:ext cx="3487312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GB" sz="13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  <a:spcAft>
                <a:spcPts val="0"/>
              </a:spcAft>
            </a:pPr>
            <a:r>
              <a:rPr lang="en-US"/>
              <a:t>Add graph tit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120989F-E7F9-408B-8E51-7D03D950072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09388" y="1457197"/>
            <a:ext cx="3487312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GB" sz="13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  <a:spcAft>
                <a:spcPts val="0"/>
              </a:spcAft>
            </a:pPr>
            <a:r>
              <a:rPr lang="en-US"/>
              <a:t>Add graph title</a:t>
            </a:r>
            <a:endParaRPr lang="en-GB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8072778C-C677-44DC-9873-FB44EA96CED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8770" y="5853957"/>
            <a:ext cx="3487073" cy="275383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675" i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mtClean="0">
                <a:latin typeface="+mj-lt"/>
              </a:defRPr>
            </a:lvl2pPr>
            <a:lvl3pPr>
              <a:defRPr lang="en-US" smtClean="0">
                <a:latin typeface="+mj-lt"/>
              </a:defRPr>
            </a:lvl3pPr>
            <a:lvl4pPr>
              <a:defRPr lang="en-US" smtClean="0">
                <a:latin typeface="+mj-lt"/>
              </a:defRPr>
            </a:lvl4pPr>
            <a:lvl5pPr>
              <a:defRPr lang="en-GB">
                <a:latin typeface="+mj-lt"/>
              </a:defRPr>
            </a:lvl5pPr>
          </a:lstStyle>
          <a:p>
            <a:pPr marL="171450" lvl="0" indent="-171450"/>
            <a:r>
              <a:rPr lang="en-US"/>
              <a:t>Add footnote/source</a:t>
            </a:r>
            <a:endParaRPr lang="en-GB"/>
          </a:p>
        </p:txBody>
      </p:sp>
      <p:sp>
        <p:nvSpPr>
          <p:cNvPr id="24" name="Chart Placeholder 9">
            <a:extLst>
              <a:ext uri="{FF2B5EF4-FFF2-40B4-BE49-F238E27FC236}">
                <a16:creationId xmlns:a16="http://schemas.microsoft.com/office/drawing/2014/main" id="{1EE6656A-2C85-499A-AFED-D7DC8FCF3D1C}"/>
              </a:ext>
            </a:extLst>
          </p:cNvPr>
          <p:cNvSpPr>
            <a:spLocks noGrp="1"/>
          </p:cNvSpPr>
          <p:nvPr>
            <p:ph type="chart" sz="quarter" idx="24" hasCustomPrompt="1"/>
          </p:nvPr>
        </p:nvSpPr>
        <p:spPr>
          <a:xfrm>
            <a:off x="4284082" y="1999130"/>
            <a:ext cx="3487083" cy="3738282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DA8C4FF2-1C15-49FF-A157-74FD4FCA1C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84083" y="5853957"/>
            <a:ext cx="3487073" cy="275383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675" i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mtClean="0">
                <a:latin typeface="+mj-lt"/>
              </a:defRPr>
            </a:lvl2pPr>
            <a:lvl3pPr>
              <a:defRPr lang="en-US" smtClean="0">
                <a:latin typeface="+mj-lt"/>
              </a:defRPr>
            </a:lvl3pPr>
            <a:lvl4pPr>
              <a:defRPr lang="en-US" smtClean="0">
                <a:latin typeface="+mj-lt"/>
              </a:defRPr>
            </a:lvl4pPr>
            <a:lvl5pPr>
              <a:defRPr lang="en-GB">
                <a:latin typeface="+mj-lt"/>
              </a:defRPr>
            </a:lvl5pPr>
          </a:lstStyle>
          <a:p>
            <a:pPr marL="171450" lvl="0" indent="-171450"/>
            <a:r>
              <a:rPr lang="en-US"/>
              <a:t>Add footnote/source</a:t>
            </a:r>
            <a:endParaRPr lang="en-GB"/>
          </a:p>
        </p:txBody>
      </p:sp>
      <p:sp>
        <p:nvSpPr>
          <p:cNvPr id="26" name="Chart Placeholder 9">
            <a:extLst>
              <a:ext uri="{FF2B5EF4-FFF2-40B4-BE49-F238E27FC236}">
                <a16:creationId xmlns:a16="http://schemas.microsoft.com/office/drawing/2014/main" id="{FE1E8916-5D47-4EC8-9B78-C50D26DEB07D}"/>
              </a:ext>
            </a:extLst>
          </p:cNvPr>
          <p:cNvSpPr>
            <a:spLocks noGrp="1"/>
          </p:cNvSpPr>
          <p:nvPr>
            <p:ph type="chart" sz="quarter" idx="26" hasCustomPrompt="1"/>
          </p:nvPr>
        </p:nvSpPr>
        <p:spPr>
          <a:xfrm>
            <a:off x="8209388" y="1999130"/>
            <a:ext cx="3487083" cy="3738282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6BE42928-9224-4D02-8182-2E5B4D824B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09389" y="5853957"/>
            <a:ext cx="3487073" cy="275383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675" i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mtClean="0">
                <a:latin typeface="+mj-lt"/>
              </a:defRPr>
            </a:lvl2pPr>
            <a:lvl3pPr>
              <a:defRPr lang="en-US" smtClean="0">
                <a:latin typeface="+mj-lt"/>
              </a:defRPr>
            </a:lvl3pPr>
            <a:lvl4pPr>
              <a:defRPr lang="en-US" smtClean="0">
                <a:latin typeface="+mj-lt"/>
              </a:defRPr>
            </a:lvl4pPr>
            <a:lvl5pPr>
              <a:defRPr lang="en-GB">
                <a:latin typeface="+mj-lt"/>
              </a:defRPr>
            </a:lvl5pPr>
          </a:lstStyle>
          <a:p>
            <a:pPr marL="171450" lvl="0" indent="-171450"/>
            <a:r>
              <a:rPr lang="en-US"/>
              <a:t>Add footnote/sourc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816818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graphs with titles n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AE376A4-7281-4F17-A9FD-693411D937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8" y="1457197"/>
            <a:ext cx="3487312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GB" sz="13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  <a:spcAft>
                <a:spcPts val="0"/>
              </a:spcAft>
            </a:pPr>
            <a:r>
              <a:rPr lang="en-US"/>
              <a:t>Add graph title</a:t>
            </a:r>
            <a:endParaRPr lang="en-GB"/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8EFF319E-6DBC-44DF-A53F-FCD666A4AD0D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358775" y="1999130"/>
            <a:ext cx="3487083" cy="3738282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BFDE300-6665-4B15-B788-A2FFCDB4D52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84082" y="1457197"/>
            <a:ext cx="3487312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GB" sz="13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  <a:spcAft>
                <a:spcPts val="0"/>
              </a:spcAft>
            </a:pPr>
            <a:r>
              <a:rPr lang="en-US"/>
              <a:t>Add graph tit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120989F-E7F9-408B-8E51-7D03D950072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09388" y="1457197"/>
            <a:ext cx="3487312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GB" sz="13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  <a:spcAft>
                <a:spcPts val="0"/>
              </a:spcAft>
            </a:pPr>
            <a:r>
              <a:rPr lang="en-US"/>
              <a:t>Add graph title</a:t>
            </a:r>
            <a:endParaRPr lang="en-GB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8072778C-C677-44DC-9873-FB44EA96CED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8770" y="5853957"/>
            <a:ext cx="3487073" cy="275383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675" i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mtClean="0">
                <a:latin typeface="+mj-lt"/>
              </a:defRPr>
            </a:lvl2pPr>
            <a:lvl3pPr>
              <a:defRPr lang="en-US" smtClean="0">
                <a:latin typeface="+mj-lt"/>
              </a:defRPr>
            </a:lvl3pPr>
            <a:lvl4pPr>
              <a:defRPr lang="en-US" smtClean="0">
                <a:latin typeface="+mj-lt"/>
              </a:defRPr>
            </a:lvl4pPr>
            <a:lvl5pPr>
              <a:defRPr lang="en-GB">
                <a:latin typeface="+mj-lt"/>
              </a:defRPr>
            </a:lvl5pPr>
          </a:lstStyle>
          <a:p>
            <a:pPr marL="171450" lvl="0" indent="-171450"/>
            <a:r>
              <a:rPr lang="en-US"/>
              <a:t>Add footnote/source</a:t>
            </a:r>
            <a:endParaRPr lang="en-GB"/>
          </a:p>
        </p:txBody>
      </p:sp>
      <p:sp>
        <p:nvSpPr>
          <p:cNvPr id="24" name="Chart Placeholder 9">
            <a:extLst>
              <a:ext uri="{FF2B5EF4-FFF2-40B4-BE49-F238E27FC236}">
                <a16:creationId xmlns:a16="http://schemas.microsoft.com/office/drawing/2014/main" id="{1EE6656A-2C85-499A-AFED-D7DC8FCF3D1C}"/>
              </a:ext>
            </a:extLst>
          </p:cNvPr>
          <p:cNvSpPr>
            <a:spLocks noGrp="1"/>
          </p:cNvSpPr>
          <p:nvPr>
            <p:ph type="chart" sz="quarter" idx="24" hasCustomPrompt="1"/>
          </p:nvPr>
        </p:nvSpPr>
        <p:spPr>
          <a:xfrm>
            <a:off x="4284082" y="1999130"/>
            <a:ext cx="3487083" cy="3738282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DA8C4FF2-1C15-49FF-A157-74FD4FCA1C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84083" y="5853957"/>
            <a:ext cx="3487073" cy="275383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675" i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mtClean="0">
                <a:latin typeface="+mj-lt"/>
              </a:defRPr>
            </a:lvl2pPr>
            <a:lvl3pPr>
              <a:defRPr lang="en-US" smtClean="0">
                <a:latin typeface="+mj-lt"/>
              </a:defRPr>
            </a:lvl3pPr>
            <a:lvl4pPr>
              <a:defRPr lang="en-US" smtClean="0">
                <a:latin typeface="+mj-lt"/>
              </a:defRPr>
            </a:lvl4pPr>
            <a:lvl5pPr>
              <a:defRPr lang="en-GB">
                <a:latin typeface="+mj-lt"/>
              </a:defRPr>
            </a:lvl5pPr>
          </a:lstStyle>
          <a:p>
            <a:pPr marL="171450" lvl="0" indent="-171450"/>
            <a:r>
              <a:rPr lang="en-US"/>
              <a:t>Add footnote/source</a:t>
            </a:r>
            <a:endParaRPr lang="en-GB"/>
          </a:p>
        </p:txBody>
      </p:sp>
      <p:sp>
        <p:nvSpPr>
          <p:cNvPr id="26" name="Chart Placeholder 9">
            <a:extLst>
              <a:ext uri="{FF2B5EF4-FFF2-40B4-BE49-F238E27FC236}">
                <a16:creationId xmlns:a16="http://schemas.microsoft.com/office/drawing/2014/main" id="{FE1E8916-5D47-4EC8-9B78-C50D26DEB07D}"/>
              </a:ext>
            </a:extLst>
          </p:cNvPr>
          <p:cNvSpPr>
            <a:spLocks noGrp="1"/>
          </p:cNvSpPr>
          <p:nvPr>
            <p:ph type="chart" sz="quarter" idx="26" hasCustomPrompt="1"/>
          </p:nvPr>
        </p:nvSpPr>
        <p:spPr>
          <a:xfrm>
            <a:off x="8209388" y="1999130"/>
            <a:ext cx="3487083" cy="3738282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6BE42928-9224-4D02-8182-2E5B4D824B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09389" y="5853957"/>
            <a:ext cx="3487073" cy="275383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675" i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mtClean="0">
                <a:latin typeface="+mj-lt"/>
              </a:defRPr>
            </a:lvl2pPr>
            <a:lvl3pPr>
              <a:defRPr lang="en-US" smtClean="0">
                <a:latin typeface="+mj-lt"/>
              </a:defRPr>
            </a:lvl3pPr>
            <a:lvl4pPr>
              <a:defRPr lang="en-US" smtClean="0">
                <a:latin typeface="+mj-lt"/>
              </a:defRPr>
            </a:lvl4pPr>
            <a:lvl5pPr>
              <a:defRPr lang="en-GB">
                <a:latin typeface="+mj-lt"/>
              </a:defRPr>
            </a:lvl5pPr>
          </a:lstStyle>
          <a:p>
            <a:pPr marL="171450" lvl="0" indent="-171450"/>
            <a:r>
              <a:rPr lang="en-US"/>
              <a:t>Add footnote/sourc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86403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ntent with titles &amp;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FAFE8B-1D42-460B-875F-B063FE652E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8" y="1897926"/>
            <a:ext cx="5328591" cy="423141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FB985924-B690-4F6B-A059-A5678494932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358060" y="1897926"/>
            <a:ext cx="5328591" cy="423141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DFD8DC6-333F-4D12-B2B1-E0CC8E63A54F}"/>
              </a:ext>
            </a:extLst>
          </p:cNvPr>
          <p:cNvCxnSpPr>
            <a:cxnSpLocks/>
          </p:cNvCxnSpPr>
          <p:nvPr userDrawn="1"/>
        </p:nvCxnSpPr>
        <p:spPr>
          <a:xfrm>
            <a:off x="6022714" y="1449388"/>
            <a:ext cx="0" cy="4679949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0690AA-22AB-43BE-82E3-4352A408EF0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7" y="1463382"/>
            <a:ext cx="5328000" cy="343161"/>
          </a:xfrm>
        </p:spPr>
        <p:txBody>
          <a:bodyPr vert="horz" lIns="0" tIns="0" rIns="0" bIns="0" rtlCol="0">
            <a:noAutofit/>
          </a:bodyPr>
          <a:lstStyle>
            <a:lvl1pPr>
              <a:defRPr lang="en-GB" sz="13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Add title</a:t>
            </a:r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29321681-CA4A-4D99-BB69-D603568A6C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58059" y="1463382"/>
            <a:ext cx="5328000" cy="343161"/>
          </a:xfrm>
        </p:spPr>
        <p:txBody>
          <a:bodyPr vert="horz" lIns="0" tIns="0" rIns="0" bIns="0" rtlCol="0">
            <a:noAutofit/>
          </a:bodyPr>
          <a:lstStyle>
            <a:lvl1pPr>
              <a:defRPr lang="en-GB" sz="13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607081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2 content with titles &amp;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5D3A4F-C11A-480D-B249-1B3A0A517F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776" y="1213252"/>
            <a:ext cx="11337924" cy="343161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FAFE8B-1D42-460B-875F-B063FE652E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8" y="2008097"/>
            <a:ext cx="5328591" cy="412124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FB985924-B690-4F6B-A059-A5678494932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358060" y="2008097"/>
            <a:ext cx="5328591" cy="412124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DFD8DC6-333F-4D12-B2B1-E0CC8E63A54F}"/>
              </a:ext>
            </a:extLst>
          </p:cNvPr>
          <p:cNvCxnSpPr/>
          <p:nvPr userDrawn="1"/>
        </p:nvCxnSpPr>
        <p:spPr>
          <a:xfrm>
            <a:off x="6022714" y="1628775"/>
            <a:ext cx="0" cy="4500562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0690AA-22AB-43BE-82E3-4352A408EF0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7" y="1628775"/>
            <a:ext cx="5328000" cy="343161"/>
          </a:xfrm>
        </p:spPr>
        <p:txBody>
          <a:bodyPr vert="horz" lIns="0" tIns="0" rIns="0" bIns="0" rtlCol="0">
            <a:noAutofit/>
          </a:bodyPr>
          <a:lstStyle>
            <a:lvl1pPr>
              <a:defRPr lang="en-GB" sz="13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Add title</a:t>
            </a:r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29321681-CA4A-4D99-BB69-D603568A6C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58059" y="1628775"/>
            <a:ext cx="5328000" cy="343161"/>
          </a:xfrm>
        </p:spPr>
        <p:txBody>
          <a:bodyPr vert="horz" lIns="0" tIns="0" rIns="0" bIns="0" rtlCol="0">
            <a:noAutofit/>
          </a:bodyPr>
          <a:lstStyle>
            <a:lvl1pPr>
              <a:defRPr lang="en-GB" sz="13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387920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5D3A4F-C11A-480D-B249-1B3A0A517F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776" y="1213252"/>
            <a:ext cx="11337924" cy="343161"/>
          </a:xfrm>
        </p:spPr>
        <p:txBody>
          <a:bodyPr vert="horz" lIns="0" tIns="0" rIns="0" bIns="0" rtlCol="0">
            <a:noAutofit/>
          </a:bodyPr>
          <a:lstStyle>
            <a:lvl1pPr>
              <a:defRPr lang="en-GB" sz="15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Add sub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FAFE8B-1D42-460B-875F-B063FE652E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8" y="1628776"/>
            <a:ext cx="3519888" cy="45005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GB" sz="120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51856C50-B020-4008-B65A-11A3AB5CAC3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267794" y="1628776"/>
            <a:ext cx="3519888" cy="45005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GB" sz="120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FFA9709D-8056-4926-A2FF-317C8EA457A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76812" y="1628776"/>
            <a:ext cx="3519888" cy="45005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GB" sz="120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201380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5D3A4F-C11A-480D-B249-1B3A0A517F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776" y="1213252"/>
            <a:ext cx="11337924" cy="343161"/>
          </a:xfrm>
        </p:spPr>
        <p:txBody>
          <a:bodyPr vert="horz" lIns="0" tIns="0" rIns="0" bIns="0" rtlCol="0">
            <a:noAutofit/>
          </a:bodyPr>
          <a:lstStyle>
            <a:lvl1pPr>
              <a:defRPr lang="en-GB" sz="15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Add sub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FAFE8B-1D42-460B-875F-B063FE652E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8" y="1628776"/>
            <a:ext cx="3519888" cy="45005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801FAED1-3BDC-4517-B5E4-D412EC0FFF2A}"/>
              </a:ext>
            </a:extLst>
          </p:cNvPr>
          <p:cNvSpPr>
            <a:spLocks noGrp="1"/>
          </p:cNvSpPr>
          <p:nvPr>
            <p:ph type="tbl" sz="quarter" idx="12" hasCustomPrompt="1"/>
          </p:nvPr>
        </p:nvSpPr>
        <p:spPr>
          <a:xfrm>
            <a:off x="4178300" y="1628777"/>
            <a:ext cx="7518400" cy="4500563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GB"/>
              <a:t>Add table</a:t>
            </a:r>
          </a:p>
        </p:txBody>
      </p:sp>
    </p:spTree>
    <p:extLst>
      <p:ext uri="{BB962C8B-B14F-4D97-AF65-F5344CB8AC3E}">
        <p14:creationId xmlns:p14="http://schemas.microsoft.com/office/powerpoint/2010/main" val="121420552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5D3A4F-C11A-480D-B249-1B3A0A517F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776" y="1213252"/>
            <a:ext cx="11337924" cy="343161"/>
          </a:xfrm>
        </p:spPr>
        <p:txBody>
          <a:bodyPr vert="horz" lIns="0" tIns="0" rIns="0" bIns="0" rtlCol="0">
            <a:noAutofit/>
          </a:bodyPr>
          <a:lstStyle>
            <a:lvl1pPr>
              <a:defRPr lang="en-GB" sz="15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Add subtitle</a:t>
            </a:r>
            <a:endParaRPr lang="en-GB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801FAED1-3BDC-4517-B5E4-D412EC0FFF2A}"/>
              </a:ext>
            </a:extLst>
          </p:cNvPr>
          <p:cNvSpPr>
            <a:spLocks noGrp="1"/>
          </p:cNvSpPr>
          <p:nvPr>
            <p:ph type="tbl" sz="quarter" idx="12" hasCustomPrompt="1"/>
          </p:nvPr>
        </p:nvSpPr>
        <p:spPr>
          <a:xfrm>
            <a:off x="358775" y="1628777"/>
            <a:ext cx="11337926" cy="4500563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GB"/>
              <a:t>Add table</a:t>
            </a:r>
          </a:p>
        </p:txBody>
      </p:sp>
    </p:spTree>
    <p:extLst>
      <p:ext uri="{BB962C8B-B14F-4D97-AF65-F5344CB8AC3E}">
        <p14:creationId xmlns:p14="http://schemas.microsoft.com/office/powerpoint/2010/main" val="323393830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ontent with dividing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5D3A4F-C11A-480D-B249-1B3A0A517F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776" y="1213252"/>
            <a:ext cx="11337924" cy="343161"/>
          </a:xfrm>
        </p:spPr>
        <p:txBody>
          <a:bodyPr vert="horz" lIns="0" tIns="0" rIns="0" bIns="0" rtlCol="0">
            <a:noAutofit/>
          </a:bodyPr>
          <a:lstStyle>
            <a:lvl1pPr>
              <a:defRPr lang="en-GB" sz="15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Add sub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FAFE8B-1D42-460B-875F-B063FE652E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8" y="1628776"/>
            <a:ext cx="3519888" cy="45005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GB" sz="120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51856C50-B020-4008-B65A-11A3AB5CAC3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267794" y="1628776"/>
            <a:ext cx="3519888" cy="45005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GB" sz="120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FFA9709D-8056-4926-A2FF-317C8EA457A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76812" y="1628776"/>
            <a:ext cx="3519888" cy="45005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GB" sz="120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828F758-21A2-4FD1-860C-ECD2B79A8453}"/>
              </a:ext>
            </a:extLst>
          </p:cNvPr>
          <p:cNvCxnSpPr/>
          <p:nvPr userDrawn="1"/>
        </p:nvCxnSpPr>
        <p:spPr>
          <a:xfrm>
            <a:off x="4073230" y="1628775"/>
            <a:ext cx="0" cy="4500562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1EDE509-68AA-40B1-9F83-E6D6304470E7}"/>
              </a:ext>
            </a:extLst>
          </p:cNvPr>
          <p:cNvCxnSpPr/>
          <p:nvPr userDrawn="1"/>
        </p:nvCxnSpPr>
        <p:spPr>
          <a:xfrm>
            <a:off x="7982246" y="1628775"/>
            <a:ext cx="0" cy="4500562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37351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ontent with titles &amp; dividing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5D3A4F-C11A-480D-B249-1B3A0A517F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776" y="1213252"/>
            <a:ext cx="11337924" cy="343161"/>
          </a:xfrm>
        </p:spPr>
        <p:txBody>
          <a:bodyPr vert="horz" lIns="0" tIns="0" rIns="0" bIns="0" rtlCol="0">
            <a:noAutofit/>
          </a:bodyPr>
          <a:lstStyle>
            <a:lvl1pPr>
              <a:defRPr lang="en-GB" sz="15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Add sub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FAFE8B-1D42-460B-875F-B063FE652E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8" y="2044301"/>
            <a:ext cx="3519888" cy="408503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GB" sz="120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51856C50-B020-4008-B65A-11A3AB5CAC3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267794" y="2044301"/>
            <a:ext cx="3519888" cy="408503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GB" sz="120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FFA9709D-8056-4926-A2FF-317C8EA457A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76812" y="2044301"/>
            <a:ext cx="3519888" cy="408503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GB" sz="120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828F758-21A2-4FD1-860C-ECD2B79A8453}"/>
              </a:ext>
            </a:extLst>
          </p:cNvPr>
          <p:cNvCxnSpPr/>
          <p:nvPr userDrawn="1"/>
        </p:nvCxnSpPr>
        <p:spPr>
          <a:xfrm>
            <a:off x="4073230" y="1628775"/>
            <a:ext cx="0" cy="4500562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1EDE509-68AA-40B1-9F83-E6D6304470E7}"/>
              </a:ext>
            </a:extLst>
          </p:cNvPr>
          <p:cNvCxnSpPr/>
          <p:nvPr userDrawn="1"/>
        </p:nvCxnSpPr>
        <p:spPr>
          <a:xfrm>
            <a:off x="7982246" y="1628775"/>
            <a:ext cx="0" cy="4500562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999E87B-8E6F-4BBA-94A0-ACEF604C30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8" y="1628775"/>
            <a:ext cx="3519887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350" b="1" smtClean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lang="en-US" smtClean="0">
                <a:latin typeface="+mj-lt"/>
              </a:defRPr>
            </a:lvl2pPr>
            <a:lvl3pPr>
              <a:defRPr lang="en-US" smtClean="0">
                <a:latin typeface="+mj-lt"/>
              </a:defRPr>
            </a:lvl3pPr>
            <a:lvl4pPr>
              <a:defRPr lang="en-US" smtClean="0">
                <a:latin typeface="+mj-lt"/>
              </a:defRPr>
            </a:lvl4pPr>
            <a:lvl5pPr>
              <a:defRPr lang="en-GB">
                <a:latin typeface="+mj-lt"/>
              </a:defRPr>
            </a:lvl5pPr>
          </a:lstStyle>
          <a:p>
            <a:pPr marL="171450" lvl="0" indent="-171450"/>
            <a:r>
              <a:rPr lang="en-US"/>
              <a:t>Add title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3B6B689-B2B2-4A64-8AAA-E2BB252A0B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794" y="1628775"/>
            <a:ext cx="3519887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350" b="1" smtClean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lang="en-US" smtClean="0">
                <a:latin typeface="+mj-lt"/>
              </a:defRPr>
            </a:lvl2pPr>
            <a:lvl3pPr>
              <a:defRPr lang="en-US" smtClean="0">
                <a:latin typeface="+mj-lt"/>
              </a:defRPr>
            </a:lvl3pPr>
            <a:lvl4pPr>
              <a:defRPr lang="en-US" smtClean="0">
                <a:latin typeface="+mj-lt"/>
              </a:defRPr>
            </a:lvl4pPr>
            <a:lvl5pPr>
              <a:defRPr lang="en-GB">
                <a:latin typeface="+mj-lt"/>
              </a:defRPr>
            </a:lvl5pPr>
          </a:lstStyle>
          <a:p>
            <a:pPr marL="171450" lvl="0" indent="-171450"/>
            <a:r>
              <a:rPr lang="en-US"/>
              <a:t>Add title</a:t>
            </a:r>
            <a:endParaRPr lang="en-GB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55C9CD3A-13C5-448A-B371-53B3D9B2280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76812" y="1628775"/>
            <a:ext cx="3519887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350" b="1" smtClean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lang="en-US" smtClean="0">
                <a:latin typeface="+mj-lt"/>
              </a:defRPr>
            </a:lvl2pPr>
            <a:lvl3pPr>
              <a:defRPr lang="en-US" smtClean="0">
                <a:latin typeface="+mj-lt"/>
              </a:defRPr>
            </a:lvl3pPr>
            <a:lvl4pPr>
              <a:defRPr lang="en-US" smtClean="0">
                <a:latin typeface="+mj-lt"/>
              </a:defRPr>
            </a:lvl4pPr>
            <a:lvl5pPr>
              <a:defRPr lang="en-GB">
                <a:latin typeface="+mj-lt"/>
              </a:defRPr>
            </a:lvl5pPr>
          </a:lstStyle>
          <a:p>
            <a:pPr marL="171450" lvl="0" indent="-171450"/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05129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on yellow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0AAA1BD8-C6B1-4CB0-9DFB-2843B91970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72156" y="1023782"/>
            <a:ext cx="8647689" cy="4810438"/>
          </a:xfrm>
          <a:prstGeom prst="rect">
            <a:avLst/>
          </a:prstGeom>
        </p:spPr>
      </p:pic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51685E76-4AAB-40D6-87DF-449D41B7C90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8" y="6129339"/>
            <a:ext cx="7166539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</p:spTree>
    <p:extLst>
      <p:ext uri="{BB962C8B-B14F-4D97-AF65-F5344CB8AC3E}">
        <p14:creationId xmlns:p14="http://schemas.microsoft.com/office/powerpoint/2010/main" val="53620517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content with titles &amp; dividing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4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FAFE8B-1D42-460B-875F-B063FE652E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8" y="1912097"/>
            <a:ext cx="3519888" cy="42172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GB" sz="120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51856C50-B020-4008-B65A-11A3AB5CAC3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267794" y="1912097"/>
            <a:ext cx="3519888" cy="42172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GB" sz="120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FFA9709D-8056-4926-A2FF-317C8EA457A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76812" y="1912097"/>
            <a:ext cx="3519888" cy="42172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GB" sz="120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828F758-21A2-4FD1-860C-ECD2B79A8453}"/>
              </a:ext>
            </a:extLst>
          </p:cNvPr>
          <p:cNvCxnSpPr>
            <a:cxnSpLocks/>
          </p:cNvCxnSpPr>
          <p:nvPr userDrawn="1"/>
        </p:nvCxnSpPr>
        <p:spPr>
          <a:xfrm>
            <a:off x="4073230" y="1463523"/>
            <a:ext cx="0" cy="4665817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1EDE509-68AA-40B1-9F83-E6D6304470E7}"/>
              </a:ext>
            </a:extLst>
          </p:cNvPr>
          <p:cNvCxnSpPr>
            <a:cxnSpLocks/>
          </p:cNvCxnSpPr>
          <p:nvPr userDrawn="1"/>
        </p:nvCxnSpPr>
        <p:spPr>
          <a:xfrm>
            <a:off x="7982246" y="1463523"/>
            <a:ext cx="0" cy="4665817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999E87B-8E6F-4BBA-94A0-ACEF604C30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8" y="1463523"/>
            <a:ext cx="3519887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350" b="1" smtClean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lang="en-US" smtClean="0">
                <a:latin typeface="+mj-lt"/>
              </a:defRPr>
            </a:lvl2pPr>
            <a:lvl3pPr>
              <a:defRPr lang="en-US" smtClean="0">
                <a:latin typeface="+mj-lt"/>
              </a:defRPr>
            </a:lvl3pPr>
            <a:lvl4pPr>
              <a:defRPr lang="en-US" smtClean="0">
                <a:latin typeface="+mj-lt"/>
              </a:defRPr>
            </a:lvl4pPr>
            <a:lvl5pPr>
              <a:defRPr lang="en-GB">
                <a:latin typeface="+mj-lt"/>
              </a:defRPr>
            </a:lvl5pPr>
          </a:lstStyle>
          <a:p>
            <a:pPr marL="171450" lvl="0" indent="-171450"/>
            <a:r>
              <a:rPr lang="en-US"/>
              <a:t>Add title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3B6B689-B2B2-4A64-8AAA-E2BB252A0B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794" y="1463523"/>
            <a:ext cx="3519887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350" b="1" smtClean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lang="en-US" smtClean="0">
                <a:latin typeface="+mj-lt"/>
              </a:defRPr>
            </a:lvl2pPr>
            <a:lvl3pPr>
              <a:defRPr lang="en-US" smtClean="0">
                <a:latin typeface="+mj-lt"/>
              </a:defRPr>
            </a:lvl3pPr>
            <a:lvl4pPr>
              <a:defRPr lang="en-US" smtClean="0">
                <a:latin typeface="+mj-lt"/>
              </a:defRPr>
            </a:lvl4pPr>
            <a:lvl5pPr>
              <a:defRPr lang="en-GB">
                <a:latin typeface="+mj-lt"/>
              </a:defRPr>
            </a:lvl5pPr>
          </a:lstStyle>
          <a:p>
            <a:pPr marL="171450" lvl="0" indent="-171450"/>
            <a:r>
              <a:rPr lang="en-US"/>
              <a:t>Add title</a:t>
            </a:r>
            <a:endParaRPr lang="en-GB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55C9CD3A-13C5-448A-B371-53B3D9B2280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76812" y="1463523"/>
            <a:ext cx="3519887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350" b="1" smtClean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lang="en-US" smtClean="0">
                <a:latin typeface="+mj-lt"/>
              </a:defRPr>
            </a:lvl2pPr>
            <a:lvl3pPr>
              <a:defRPr lang="en-US" smtClean="0">
                <a:latin typeface="+mj-lt"/>
              </a:defRPr>
            </a:lvl3pPr>
            <a:lvl4pPr>
              <a:defRPr lang="en-US" smtClean="0">
                <a:latin typeface="+mj-lt"/>
              </a:defRPr>
            </a:lvl4pPr>
            <a:lvl5pPr>
              <a:defRPr lang="en-GB">
                <a:latin typeface="+mj-lt"/>
              </a:defRPr>
            </a:lvl5pPr>
          </a:lstStyle>
          <a:p>
            <a:pPr marL="171450" lvl="0" indent="-171450"/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664384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vid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40" y="1791351"/>
            <a:ext cx="5552892" cy="174511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33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40" y="3554391"/>
            <a:ext cx="5552892" cy="7324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3558740965"/>
      </p:ext>
    </p:extLst>
  </p:cSld>
  <p:clrMapOvr>
    <a:masterClrMapping/>
  </p:clrMapOvr>
  <p:hf hdr="0" ftr="0" dt="0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vider red_#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C07F8FE-17A3-46C6-8E23-99B08D1E4C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57103" y="1347668"/>
            <a:ext cx="4965238" cy="3439487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40" y="1341441"/>
            <a:ext cx="5552892" cy="174511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33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40" y="3104481"/>
            <a:ext cx="5552892" cy="7324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Add subtitle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19163576-E8E1-4806-B23A-BE97EF09C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61769" y="2169254"/>
            <a:ext cx="2519362" cy="1595919"/>
          </a:xfrm>
        </p:spPr>
        <p:txBody>
          <a:bodyPr anchor="ctr">
            <a:noAutofit/>
          </a:bodyPr>
          <a:lstStyle>
            <a:lvl1pPr marL="0" indent="0" algn="ctr">
              <a:buNone/>
              <a:defRPr sz="9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4173010"/>
      </p:ext>
    </p:extLst>
  </p:cSld>
  <p:clrMapOvr>
    <a:masterClrMapping/>
  </p:clrMapOvr>
  <p:hf hdr="0" ftr="0" dt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7452024-AB94-4C0E-BCE3-7CD7FB801B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2078" t="18689" r="9535" b="17057"/>
          <a:stretch/>
        </p:blipFill>
        <p:spPr>
          <a:xfrm>
            <a:off x="996696" y="1341438"/>
            <a:ext cx="10415016" cy="4236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85404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F5DD9-2C52-442D-92E2-8072C0C3D7CD}" type="datetimeFigureOut">
              <a:rPr lang="en-US" smtClean="0"/>
              <a:t>1/22/20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>
              <a:defRPr/>
            </a:pPr>
            <a:r>
              <a:rPr lang="en-US" sz="900"/>
              <a:t>Barclays Africa Bursary and Sponsorship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0356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on oran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771099A8-DE03-4E8D-BF7E-90D156E1D7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72156" y="1023782"/>
            <a:ext cx="8647689" cy="4810438"/>
          </a:xfrm>
          <a:prstGeom prst="rect">
            <a:avLst/>
          </a:prstGeom>
        </p:spPr>
      </p:pic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81B0B9B5-E98B-44E8-A2CA-DCC3F4A5ED4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8" y="6129339"/>
            <a:ext cx="7166539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</p:spTree>
    <p:extLst>
      <p:ext uri="{BB962C8B-B14F-4D97-AF65-F5344CB8AC3E}">
        <p14:creationId xmlns:p14="http://schemas.microsoft.com/office/powerpoint/2010/main" val="9128822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on pin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448403EA-A1C8-4D83-80E3-7214675240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72156" y="1023782"/>
            <a:ext cx="8647689" cy="4810438"/>
          </a:xfrm>
          <a:prstGeom prst="rect">
            <a:avLst/>
          </a:prstGeom>
        </p:spPr>
      </p:pic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E373A5AA-21ED-4958-A70D-F8AFFC3BB1F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8" y="6129339"/>
            <a:ext cx="7166539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</p:spTree>
    <p:extLst>
      <p:ext uri="{BB962C8B-B14F-4D97-AF65-F5344CB8AC3E}">
        <p14:creationId xmlns:p14="http://schemas.microsoft.com/office/powerpoint/2010/main" val="15180985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on plum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A0D7B175-CB64-4476-B200-4DEC1EECA3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72156" y="1023782"/>
            <a:ext cx="8647689" cy="4810438"/>
          </a:xfrm>
          <a:prstGeom prst="rect">
            <a:avLst/>
          </a:prstGeom>
        </p:spPr>
      </p:pic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ED622B88-C9FC-4B1B-873C-53FA653F10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8" y="6129339"/>
            <a:ext cx="7166539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</p:spTree>
    <p:extLst>
      <p:ext uri="{BB962C8B-B14F-4D97-AF65-F5344CB8AC3E}">
        <p14:creationId xmlns:p14="http://schemas.microsoft.com/office/powerpoint/2010/main" val="39394334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on dark plum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50F72321-32C2-4C42-B7F5-D6A9E88FC2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72156" y="1023782"/>
            <a:ext cx="8647689" cy="4810438"/>
          </a:xfrm>
          <a:prstGeom prst="rect">
            <a:avLst/>
          </a:prstGeom>
        </p:spPr>
      </p:pic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DEBFB27B-6861-45C7-8C6A-BFBC3DB767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8" y="6129339"/>
            <a:ext cx="7166539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</p:spTree>
    <p:extLst>
      <p:ext uri="{BB962C8B-B14F-4D97-AF65-F5344CB8AC3E}">
        <p14:creationId xmlns:p14="http://schemas.microsoft.com/office/powerpoint/2010/main" val="25414223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4" y="445808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5D3A4F-C11A-480D-B249-1B3A0A517F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213249"/>
            <a:ext cx="11337924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GB" sz="20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lvl="0" indent="-228600">
              <a:lnSpc>
                <a:spcPct val="100000"/>
              </a:lnSpc>
              <a:spcAft>
                <a:spcPts val="0"/>
              </a:spcAft>
            </a:pPr>
            <a:r>
              <a:rPr lang="en-US"/>
              <a:t>Add sub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FAFE8B-1D42-460B-875F-B063FE652E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5" y="1628774"/>
            <a:ext cx="11337925" cy="45005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/>
            </a:lvl1pPr>
            <a:lvl2pPr>
              <a:defRPr lang="en-US" sz="1600" dirty="0"/>
            </a:lvl2pPr>
            <a:lvl3pPr>
              <a:defRPr lang="en-US" sz="1600" dirty="0"/>
            </a:lvl3pPr>
            <a:lvl4pPr>
              <a:defRPr lang="en-US" sz="1600" dirty="0"/>
            </a:lvl4pPr>
            <a:lvl5pPr>
              <a:defRPr lang="en-GB" sz="1600" dirty="0"/>
            </a:lvl5pPr>
          </a:lstStyle>
          <a:p>
            <a:pPr lvl="0">
              <a:lnSpc>
                <a:spcPct val="120000"/>
              </a:lnSpc>
              <a:spcAft>
                <a:spcPts val="60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6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6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6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600"/>
              </a:spcAft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85864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on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7FABB003-C294-4B0B-9C93-02517CC258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72156" y="1023782"/>
            <a:ext cx="8647689" cy="4810438"/>
          </a:xfrm>
          <a:prstGeom prst="rect">
            <a:avLst/>
          </a:prstGeom>
        </p:spPr>
      </p:pic>
      <p:sp>
        <p:nvSpPr>
          <p:cNvPr id="45" name="Picture Placeholder 44">
            <a:extLst>
              <a:ext uri="{FF2B5EF4-FFF2-40B4-BE49-F238E27FC236}">
                <a16:creationId xmlns:a16="http://schemas.microsoft.com/office/drawing/2014/main" id="{4489F5A6-C029-4018-8040-541677B07A3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" y="3"/>
            <a:ext cx="12070798" cy="6857999"/>
          </a:xfrm>
          <a:custGeom>
            <a:avLst/>
            <a:gdLst>
              <a:gd name="connsiteX0" fmla="*/ 6663449 w 12070798"/>
              <a:gd name="connsiteY0" fmla="*/ 3331179 h 6857999"/>
              <a:gd name="connsiteX1" fmla="*/ 6823901 w 12070798"/>
              <a:gd name="connsiteY1" fmla="*/ 3569208 h 6857999"/>
              <a:gd name="connsiteX2" fmla="*/ 6663449 w 12070798"/>
              <a:gd name="connsiteY2" fmla="*/ 3805650 h 6857999"/>
              <a:gd name="connsiteX3" fmla="*/ 6502997 w 12070798"/>
              <a:gd name="connsiteY3" fmla="*/ 3569208 h 6857999"/>
              <a:gd name="connsiteX4" fmla="*/ 6663449 w 12070798"/>
              <a:gd name="connsiteY4" fmla="*/ 3331179 h 6857999"/>
              <a:gd name="connsiteX5" fmla="*/ 4801318 w 12070798"/>
              <a:gd name="connsiteY5" fmla="*/ 3321648 h 6857999"/>
              <a:gd name="connsiteX6" fmla="*/ 4942962 w 12070798"/>
              <a:gd name="connsiteY6" fmla="*/ 3493220 h 6857999"/>
              <a:gd name="connsiteX7" fmla="*/ 4648535 w 12070798"/>
              <a:gd name="connsiteY7" fmla="*/ 3493220 h 6857999"/>
              <a:gd name="connsiteX8" fmla="*/ 4801318 w 12070798"/>
              <a:gd name="connsiteY8" fmla="*/ 3321648 h 6857999"/>
              <a:gd name="connsiteX9" fmla="*/ 8745359 w 12070798"/>
              <a:gd name="connsiteY9" fmla="*/ 3321648 h 6857999"/>
              <a:gd name="connsiteX10" fmla="*/ 8887001 w 12070798"/>
              <a:gd name="connsiteY10" fmla="*/ 3493220 h 6857999"/>
              <a:gd name="connsiteX11" fmla="*/ 8592575 w 12070798"/>
              <a:gd name="connsiteY11" fmla="*/ 3493220 h 6857999"/>
              <a:gd name="connsiteX12" fmla="*/ 8745359 w 12070798"/>
              <a:gd name="connsiteY12" fmla="*/ 3321648 h 6857999"/>
              <a:gd name="connsiteX13" fmla="*/ 8750401 w 12070798"/>
              <a:gd name="connsiteY13" fmla="*/ 3169139 h 6857999"/>
              <a:gd name="connsiteX14" fmla="*/ 8379699 w 12070798"/>
              <a:gd name="connsiteY14" fmla="*/ 3577147 h 6857999"/>
              <a:gd name="connsiteX15" fmla="*/ 8794949 w 12070798"/>
              <a:gd name="connsiteY15" fmla="*/ 3967690 h 6857999"/>
              <a:gd name="connsiteX16" fmla="*/ 9043144 w 12070798"/>
              <a:gd name="connsiteY16" fmla="*/ 3926413 h 6857999"/>
              <a:gd name="connsiteX17" fmla="*/ 9052690 w 12070798"/>
              <a:gd name="connsiteY17" fmla="*/ 3766068 h 6857999"/>
              <a:gd name="connsiteX18" fmla="*/ 8820405 w 12070798"/>
              <a:gd name="connsiteY18" fmla="*/ 3805758 h 6857999"/>
              <a:gd name="connsiteX19" fmla="*/ 8592892 w 12070798"/>
              <a:gd name="connsiteY19" fmla="*/ 3637474 h 6857999"/>
              <a:gd name="connsiteX20" fmla="*/ 9086101 w 12070798"/>
              <a:gd name="connsiteY20" fmla="*/ 3637474 h 6857999"/>
              <a:gd name="connsiteX21" fmla="*/ 9092465 w 12070798"/>
              <a:gd name="connsiteY21" fmla="*/ 3550157 h 6857999"/>
              <a:gd name="connsiteX22" fmla="*/ 8750401 w 12070798"/>
              <a:gd name="connsiteY22" fmla="*/ 3169139 h 6857999"/>
              <a:gd name="connsiteX23" fmla="*/ 7505383 w 12070798"/>
              <a:gd name="connsiteY23" fmla="*/ 3169139 h 6857999"/>
              <a:gd name="connsiteX24" fmla="*/ 7274696 w 12070798"/>
              <a:gd name="connsiteY24" fmla="*/ 3216798 h 6857999"/>
              <a:gd name="connsiteX25" fmla="*/ 7168103 w 12070798"/>
              <a:gd name="connsiteY25" fmla="*/ 3185025 h 6857999"/>
              <a:gd name="connsiteX26" fmla="*/ 7168103 w 12070798"/>
              <a:gd name="connsiteY26" fmla="*/ 3947568 h 6857999"/>
              <a:gd name="connsiteX27" fmla="*/ 7373335 w 12070798"/>
              <a:gd name="connsiteY27" fmla="*/ 3947568 h 6857999"/>
              <a:gd name="connsiteX28" fmla="*/ 7373335 w 12070798"/>
              <a:gd name="connsiteY28" fmla="*/ 3364541 h 6857999"/>
              <a:gd name="connsiteX29" fmla="*/ 7481519 w 12070798"/>
              <a:gd name="connsiteY29" fmla="*/ 3337534 h 6857999"/>
              <a:gd name="connsiteX30" fmla="*/ 7615158 w 12070798"/>
              <a:gd name="connsiteY30" fmla="*/ 3486865 h 6857999"/>
              <a:gd name="connsiteX31" fmla="*/ 7615158 w 12070798"/>
              <a:gd name="connsiteY31" fmla="*/ 3947568 h 6857999"/>
              <a:gd name="connsiteX32" fmla="*/ 7820390 w 12070798"/>
              <a:gd name="connsiteY32" fmla="*/ 3947568 h 6857999"/>
              <a:gd name="connsiteX33" fmla="*/ 7820390 w 12070798"/>
              <a:gd name="connsiteY33" fmla="*/ 3485277 h 6857999"/>
              <a:gd name="connsiteX34" fmla="*/ 7810844 w 12070798"/>
              <a:gd name="connsiteY34" fmla="*/ 3374072 h 6857999"/>
              <a:gd name="connsiteX35" fmla="*/ 7926983 w 12070798"/>
              <a:gd name="connsiteY35" fmla="*/ 3337534 h 6857999"/>
              <a:gd name="connsiteX36" fmla="*/ 8054259 w 12070798"/>
              <a:gd name="connsiteY36" fmla="*/ 3483688 h 6857999"/>
              <a:gd name="connsiteX37" fmla="*/ 8054259 w 12070798"/>
              <a:gd name="connsiteY37" fmla="*/ 3947568 h 6857999"/>
              <a:gd name="connsiteX38" fmla="*/ 8261081 w 12070798"/>
              <a:gd name="connsiteY38" fmla="*/ 3947568 h 6857999"/>
              <a:gd name="connsiteX39" fmla="*/ 8261081 w 12070798"/>
              <a:gd name="connsiteY39" fmla="*/ 3474156 h 6857999"/>
              <a:gd name="connsiteX40" fmla="*/ 7966757 w 12070798"/>
              <a:gd name="connsiteY40" fmla="*/ 3169139 h 6857999"/>
              <a:gd name="connsiteX41" fmla="*/ 7724933 w 12070798"/>
              <a:gd name="connsiteY41" fmla="*/ 3227918 h 6857999"/>
              <a:gd name="connsiteX42" fmla="*/ 7505383 w 12070798"/>
              <a:gd name="connsiteY42" fmla="*/ 3169139 h 6857999"/>
              <a:gd name="connsiteX43" fmla="*/ 6662920 w 12070798"/>
              <a:gd name="connsiteY43" fmla="*/ 3169139 h 6857999"/>
              <a:gd name="connsiteX44" fmla="*/ 6282707 w 12070798"/>
              <a:gd name="connsiteY44" fmla="*/ 3569208 h 6857999"/>
              <a:gd name="connsiteX45" fmla="*/ 6662920 w 12070798"/>
              <a:gd name="connsiteY45" fmla="*/ 3967690 h 6857999"/>
              <a:gd name="connsiteX46" fmla="*/ 7043131 w 12070798"/>
              <a:gd name="connsiteY46" fmla="*/ 3569208 h 6857999"/>
              <a:gd name="connsiteX47" fmla="*/ 6662920 w 12070798"/>
              <a:gd name="connsiteY47" fmla="*/ 3169139 h 6857999"/>
              <a:gd name="connsiteX48" fmla="*/ 5988617 w 12070798"/>
              <a:gd name="connsiteY48" fmla="*/ 3169139 h 6857999"/>
              <a:gd name="connsiteX49" fmla="*/ 5603832 w 12070798"/>
              <a:gd name="connsiteY49" fmla="*/ 3577146 h 6857999"/>
              <a:gd name="connsiteX50" fmla="*/ 5985437 w 12070798"/>
              <a:gd name="connsiteY50" fmla="*/ 3967690 h 6857999"/>
              <a:gd name="connsiteX51" fmla="*/ 6201678 w 12070798"/>
              <a:gd name="connsiteY51" fmla="*/ 3924826 h 6857999"/>
              <a:gd name="connsiteX52" fmla="*/ 6212808 w 12070798"/>
              <a:gd name="connsiteY52" fmla="*/ 3750192 h 6857999"/>
              <a:gd name="connsiteX53" fmla="*/ 6014056 w 12070798"/>
              <a:gd name="connsiteY53" fmla="*/ 3797819 h 6857999"/>
              <a:gd name="connsiteX54" fmla="*/ 5834385 w 12070798"/>
              <a:gd name="connsiteY54" fmla="*/ 3577146 h 6857999"/>
              <a:gd name="connsiteX55" fmla="*/ 6022006 w 12070798"/>
              <a:gd name="connsiteY55" fmla="*/ 3337422 h 6857999"/>
              <a:gd name="connsiteX56" fmla="*/ 6204858 w 12070798"/>
              <a:gd name="connsiteY56" fmla="*/ 3385050 h 6857999"/>
              <a:gd name="connsiteX57" fmla="*/ 6190548 w 12070798"/>
              <a:gd name="connsiteY57" fmla="*/ 3210416 h 6857999"/>
              <a:gd name="connsiteX58" fmla="*/ 5988617 w 12070798"/>
              <a:gd name="connsiteY58" fmla="*/ 3169139 h 6857999"/>
              <a:gd name="connsiteX59" fmla="*/ 4806615 w 12070798"/>
              <a:gd name="connsiteY59" fmla="*/ 3169139 h 6857999"/>
              <a:gd name="connsiteX60" fmla="*/ 4434600 w 12070798"/>
              <a:gd name="connsiteY60" fmla="*/ 3577147 h 6857999"/>
              <a:gd name="connsiteX61" fmla="*/ 4849541 w 12070798"/>
              <a:gd name="connsiteY61" fmla="*/ 3967690 h 6857999"/>
              <a:gd name="connsiteX62" fmla="*/ 5099141 w 12070798"/>
              <a:gd name="connsiteY62" fmla="*/ 3926413 h 6857999"/>
              <a:gd name="connsiteX63" fmla="*/ 5108680 w 12070798"/>
              <a:gd name="connsiteY63" fmla="*/ 3766068 h 6857999"/>
              <a:gd name="connsiteX64" fmla="*/ 4876567 w 12070798"/>
              <a:gd name="connsiteY64" fmla="*/ 3805758 h 6857999"/>
              <a:gd name="connsiteX65" fmla="*/ 4649224 w 12070798"/>
              <a:gd name="connsiteY65" fmla="*/ 3637474 h 6857999"/>
              <a:gd name="connsiteX66" fmla="*/ 5142066 w 12070798"/>
              <a:gd name="connsiteY66" fmla="*/ 3637474 h 6857999"/>
              <a:gd name="connsiteX67" fmla="*/ 5148425 w 12070798"/>
              <a:gd name="connsiteY67" fmla="*/ 3550157 h 6857999"/>
              <a:gd name="connsiteX68" fmla="*/ 4806615 w 12070798"/>
              <a:gd name="connsiteY68" fmla="*/ 3169139 h 6857999"/>
              <a:gd name="connsiteX69" fmla="*/ 3091678 w 12070798"/>
              <a:gd name="connsiteY69" fmla="*/ 2902250 h 6857999"/>
              <a:gd name="connsiteX70" fmla="*/ 3308791 w 12070798"/>
              <a:gd name="connsiteY70" fmla="*/ 3947568 h 6857999"/>
              <a:gd name="connsiteX71" fmla="*/ 3594744 w 12070798"/>
              <a:gd name="connsiteY71" fmla="*/ 3947568 h 6857999"/>
              <a:gd name="connsiteX72" fmla="*/ 3750430 w 12070798"/>
              <a:gd name="connsiteY72" fmla="*/ 3264457 h 6857999"/>
              <a:gd name="connsiteX73" fmla="*/ 3905057 w 12070798"/>
              <a:gd name="connsiteY73" fmla="*/ 3947568 h 6857999"/>
              <a:gd name="connsiteX74" fmla="*/ 4193129 w 12070798"/>
              <a:gd name="connsiteY74" fmla="*/ 3947568 h 6857999"/>
              <a:gd name="connsiteX75" fmla="*/ 4409182 w 12070798"/>
              <a:gd name="connsiteY75" fmla="*/ 2902250 h 6857999"/>
              <a:gd name="connsiteX76" fmla="*/ 4200541 w 12070798"/>
              <a:gd name="connsiteY76" fmla="*/ 2902250 h 6857999"/>
              <a:gd name="connsiteX77" fmla="*/ 4044856 w 12070798"/>
              <a:gd name="connsiteY77" fmla="*/ 3703978 h 6857999"/>
              <a:gd name="connsiteX78" fmla="*/ 3870107 w 12070798"/>
              <a:gd name="connsiteY78" fmla="*/ 2902250 h 6857999"/>
              <a:gd name="connsiteX79" fmla="*/ 3644522 w 12070798"/>
              <a:gd name="connsiteY79" fmla="*/ 2902250 h 6857999"/>
              <a:gd name="connsiteX80" fmla="*/ 3469773 w 12070798"/>
              <a:gd name="connsiteY80" fmla="*/ 3707155 h 6857999"/>
              <a:gd name="connsiteX81" fmla="*/ 3314087 w 12070798"/>
              <a:gd name="connsiteY81" fmla="*/ 2902250 h 6857999"/>
              <a:gd name="connsiteX82" fmla="*/ 5479919 w 12070798"/>
              <a:gd name="connsiteY82" fmla="*/ 2794224 h 6857999"/>
              <a:gd name="connsiteX83" fmla="*/ 5273397 w 12070798"/>
              <a:gd name="connsiteY83" fmla="*/ 2817524 h 6857999"/>
              <a:gd name="connsiteX84" fmla="*/ 5273397 w 12070798"/>
              <a:gd name="connsiteY84" fmla="*/ 3947569 h 6857999"/>
              <a:gd name="connsiteX85" fmla="*/ 5479919 w 12070798"/>
              <a:gd name="connsiteY85" fmla="*/ 3947569 h 6857999"/>
              <a:gd name="connsiteX86" fmla="*/ 2496471 w 12070798"/>
              <a:gd name="connsiteY86" fmla="*/ 2568638 h 6857999"/>
              <a:gd name="connsiteX87" fmla="*/ 2305836 w 12070798"/>
              <a:gd name="connsiteY87" fmla="*/ 3424909 h 6857999"/>
              <a:gd name="connsiteX88" fmla="*/ 2496471 w 12070798"/>
              <a:gd name="connsiteY88" fmla="*/ 4281181 h 6857999"/>
              <a:gd name="connsiteX89" fmla="*/ 2725234 w 12070798"/>
              <a:gd name="connsiteY89" fmla="*/ 4174743 h 6857999"/>
              <a:gd name="connsiteX90" fmla="*/ 2560016 w 12070798"/>
              <a:gd name="connsiteY90" fmla="*/ 3424909 h 6857999"/>
              <a:gd name="connsiteX91" fmla="*/ 2725234 w 12070798"/>
              <a:gd name="connsiteY91" fmla="*/ 2675076 h 6857999"/>
              <a:gd name="connsiteX92" fmla="*/ 2496471 w 12070798"/>
              <a:gd name="connsiteY92" fmla="*/ 2568638 h 6857999"/>
              <a:gd name="connsiteX93" fmla="*/ 9021583 w 12070798"/>
              <a:gd name="connsiteY93" fmla="*/ 1764791 h 6857999"/>
              <a:gd name="connsiteX94" fmla="*/ 8875352 w 12070798"/>
              <a:gd name="connsiteY94" fmla="*/ 1972902 h 6857999"/>
              <a:gd name="connsiteX95" fmla="*/ 9631937 w 12070798"/>
              <a:gd name="connsiteY95" fmla="*/ 3424909 h 6857999"/>
              <a:gd name="connsiteX96" fmla="*/ 8875352 w 12070798"/>
              <a:gd name="connsiteY96" fmla="*/ 4876918 h 6857999"/>
              <a:gd name="connsiteX97" fmla="*/ 9021583 w 12070798"/>
              <a:gd name="connsiteY97" fmla="*/ 5085028 h 6857999"/>
              <a:gd name="connsiteX98" fmla="*/ 9884662 w 12070798"/>
              <a:gd name="connsiteY98" fmla="*/ 3424909 h 6857999"/>
              <a:gd name="connsiteX99" fmla="*/ 9021583 w 12070798"/>
              <a:gd name="connsiteY99" fmla="*/ 1764791 h 6857999"/>
              <a:gd name="connsiteX100" fmla="*/ 0 w 12070798"/>
              <a:gd name="connsiteY100" fmla="*/ 0 h 6857999"/>
              <a:gd name="connsiteX101" fmla="*/ 12070798 w 12070798"/>
              <a:gd name="connsiteY101" fmla="*/ 0 h 6857999"/>
              <a:gd name="connsiteX102" fmla="*/ 12070798 w 12070798"/>
              <a:gd name="connsiteY102" fmla="*/ 6857999 h 6857999"/>
              <a:gd name="connsiteX103" fmla="*/ 0 w 12070798"/>
              <a:gd name="connsiteY10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</a:cxnLst>
            <a:rect l="l" t="t" r="r" b="b"/>
            <a:pathLst>
              <a:path w="12070798" h="6857999">
                <a:moveTo>
                  <a:pt x="6663449" y="3331179"/>
                </a:moveTo>
                <a:cubicBezTo>
                  <a:pt x="6761944" y="3331179"/>
                  <a:pt x="6823901" y="3389893"/>
                  <a:pt x="6823901" y="3569208"/>
                </a:cubicBezTo>
                <a:cubicBezTo>
                  <a:pt x="6823901" y="3745349"/>
                  <a:pt x="6761944" y="3805650"/>
                  <a:pt x="6663449" y="3805650"/>
                </a:cubicBezTo>
                <a:cubicBezTo>
                  <a:pt x="6563365" y="3805650"/>
                  <a:pt x="6502997" y="3745349"/>
                  <a:pt x="6502997" y="3569208"/>
                </a:cubicBezTo>
                <a:cubicBezTo>
                  <a:pt x="6502997" y="3391480"/>
                  <a:pt x="6563365" y="3331179"/>
                  <a:pt x="6663449" y="3331179"/>
                </a:cubicBezTo>
                <a:close/>
                <a:moveTo>
                  <a:pt x="4801318" y="3321648"/>
                </a:moveTo>
                <a:cubicBezTo>
                  <a:pt x="4895217" y="3321648"/>
                  <a:pt x="4941371" y="3391547"/>
                  <a:pt x="4942962" y="3493220"/>
                </a:cubicBezTo>
                <a:cubicBezTo>
                  <a:pt x="4942962" y="3493220"/>
                  <a:pt x="4942962" y="3493220"/>
                  <a:pt x="4648535" y="3493220"/>
                </a:cubicBezTo>
                <a:cubicBezTo>
                  <a:pt x="4662859" y="3382016"/>
                  <a:pt x="4716969" y="3321648"/>
                  <a:pt x="4801318" y="3321648"/>
                </a:cubicBezTo>
                <a:close/>
                <a:moveTo>
                  <a:pt x="8745359" y="3321648"/>
                </a:moveTo>
                <a:cubicBezTo>
                  <a:pt x="8840848" y="3321648"/>
                  <a:pt x="8887001" y="3391547"/>
                  <a:pt x="8887001" y="3493220"/>
                </a:cubicBezTo>
                <a:cubicBezTo>
                  <a:pt x="8887001" y="3493220"/>
                  <a:pt x="8887001" y="3493220"/>
                  <a:pt x="8592575" y="3493220"/>
                </a:cubicBezTo>
                <a:cubicBezTo>
                  <a:pt x="8608490" y="3382016"/>
                  <a:pt x="8661009" y="3321648"/>
                  <a:pt x="8745359" y="3321648"/>
                </a:cubicBezTo>
                <a:close/>
                <a:moveTo>
                  <a:pt x="8750401" y="3169139"/>
                </a:moveTo>
                <a:cubicBezTo>
                  <a:pt x="8532434" y="3169139"/>
                  <a:pt x="8379699" y="3305671"/>
                  <a:pt x="8379699" y="3577147"/>
                </a:cubicBezTo>
                <a:cubicBezTo>
                  <a:pt x="8379699" y="3856560"/>
                  <a:pt x="8537208" y="3967690"/>
                  <a:pt x="8794949" y="3967690"/>
                </a:cubicBezTo>
                <a:cubicBezTo>
                  <a:pt x="8885636" y="3967690"/>
                  <a:pt x="8966776" y="3953402"/>
                  <a:pt x="9043144" y="3926413"/>
                </a:cubicBezTo>
                <a:cubicBezTo>
                  <a:pt x="9043144" y="3926413"/>
                  <a:pt x="9043144" y="3926413"/>
                  <a:pt x="9052690" y="3766068"/>
                </a:cubicBezTo>
                <a:cubicBezTo>
                  <a:pt x="8990641" y="3786707"/>
                  <a:pt x="8912682" y="3805758"/>
                  <a:pt x="8820405" y="3805758"/>
                </a:cubicBezTo>
                <a:cubicBezTo>
                  <a:pt x="8691534" y="3805758"/>
                  <a:pt x="8615167" y="3766068"/>
                  <a:pt x="8592892" y="3637474"/>
                </a:cubicBezTo>
                <a:cubicBezTo>
                  <a:pt x="8592892" y="3637474"/>
                  <a:pt x="8592892" y="3637474"/>
                  <a:pt x="9086101" y="3637474"/>
                </a:cubicBezTo>
                <a:cubicBezTo>
                  <a:pt x="9087692" y="3618423"/>
                  <a:pt x="9092465" y="3591435"/>
                  <a:pt x="9092465" y="3550157"/>
                </a:cubicBezTo>
                <a:cubicBezTo>
                  <a:pt x="9092465" y="3318371"/>
                  <a:pt x="8984277" y="3169139"/>
                  <a:pt x="8750401" y="3169139"/>
                </a:cubicBezTo>
                <a:close/>
                <a:moveTo>
                  <a:pt x="7505383" y="3169139"/>
                </a:moveTo>
                <a:cubicBezTo>
                  <a:pt x="7430609" y="3169139"/>
                  <a:pt x="7351062" y="3188203"/>
                  <a:pt x="7274696" y="3216798"/>
                </a:cubicBezTo>
                <a:cubicBezTo>
                  <a:pt x="7274696" y="3216798"/>
                  <a:pt x="7274696" y="3216798"/>
                  <a:pt x="7168103" y="3185025"/>
                </a:cubicBezTo>
                <a:cubicBezTo>
                  <a:pt x="7168103" y="3185025"/>
                  <a:pt x="7168103" y="3185025"/>
                  <a:pt x="7168103" y="3947568"/>
                </a:cubicBezTo>
                <a:cubicBezTo>
                  <a:pt x="7168103" y="3947568"/>
                  <a:pt x="7168103" y="3947568"/>
                  <a:pt x="7373335" y="3947568"/>
                </a:cubicBezTo>
                <a:cubicBezTo>
                  <a:pt x="7373335" y="3947568"/>
                  <a:pt x="7373335" y="3947568"/>
                  <a:pt x="7373335" y="3364541"/>
                </a:cubicBezTo>
                <a:cubicBezTo>
                  <a:pt x="7401972" y="3347066"/>
                  <a:pt x="7441745" y="3337534"/>
                  <a:pt x="7481519" y="3337534"/>
                </a:cubicBezTo>
                <a:cubicBezTo>
                  <a:pt x="7576976" y="3337534"/>
                  <a:pt x="7615158" y="3386782"/>
                  <a:pt x="7615158" y="3486865"/>
                </a:cubicBezTo>
                <a:cubicBezTo>
                  <a:pt x="7615158" y="3486865"/>
                  <a:pt x="7615158" y="3486865"/>
                  <a:pt x="7615158" y="3947568"/>
                </a:cubicBezTo>
                <a:cubicBezTo>
                  <a:pt x="7615158" y="3947568"/>
                  <a:pt x="7615158" y="3947568"/>
                  <a:pt x="7820390" y="3947568"/>
                </a:cubicBezTo>
                <a:cubicBezTo>
                  <a:pt x="7820390" y="3947568"/>
                  <a:pt x="7820390" y="3947568"/>
                  <a:pt x="7820390" y="3485277"/>
                </a:cubicBezTo>
                <a:cubicBezTo>
                  <a:pt x="7820390" y="3443972"/>
                  <a:pt x="7818799" y="3407434"/>
                  <a:pt x="7810844" y="3374072"/>
                </a:cubicBezTo>
                <a:cubicBezTo>
                  <a:pt x="7852209" y="3348654"/>
                  <a:pt x="7890391" y="3337534"/>
                  <a:pt x="7926983" y="3337534"/>
                </a:cubicBezTo>
                <a:cubicBezTo>
                  <a:pt x="8016076" y="3337534"/>
                  <a:pt x="8054259" y="3389959"/>
                  <a:pt x="8054259" y="3483688"/>
                </a:cubicBezTo>
                <a:cubicBezTo>
                  <a:pt x="8054259" y="3483688"/>
                  <a:pt x="8054259" y="3483688"/>
                  <a:pt x="8054259" y="3947568"/>
                </a:cubicBezTo>
                <a:cubicBezTo>
                  <a:pt x="8054259" y="3947568"/>
                  <a:pt x="8054259" y="3947568"/>
                  <a:pt x="8261081" y="3947568"/>
                </a:cubicBezTo>
                <a:cubicBezTo>
                  <a:pt x="8261081" y="3947568"/>
                  <a:pt x="8261081" y="3947568"/>
                  <a:pt x="8261081" y="3474156"/>
                </a:cubicBezTo>
                <a:cubicBezTo>
                  <a:pt x="8261081" y="3264457"/>
                  <a:pt x="8154488" y="3169139"/>
                  <a:pt x="7966757" y="3169139"/>
                </a:cubicBezTo>
                <a:cubicBezTo>
                  <a:pt x="7877664" y="3169139"/>
                  <a:pt x="7796526" y="3191380"/>
                  <a:pt x="7724933" y="3227918"/>
                </a:cubicBezTo>
                <a:cubicBezTo>
                  <a:pt x="7670841" y="3186614"/>
                  <a:pt x="7597658" y="3169139"/>
                  <a:pt x="7505383" y="3169139"/>
                </a:cubicBezTo>
                <a:close/>
                <a:moveTo>
                  <a:pt x="6662920" y="3169139"/>
                </a:moveTo>
                <a:cubicBezTo>
                  <a:pt x="6435428" y="3169139"/>
                  <a:pt x="6282707" y="3299321"/>
                  <a:pt x="6282707" y="3569208"/>
                </a:cubicBezTo>
                <a:cubicBezTo>
                  <a:pt x="6282707" y="3839097"/>
                  <a:pt x="6435428" y="3967690"/>
                  <a:pt x="6662920" y="3967690"/>
                </a:cubicBezTo>
                <a:cubicBezTo>
                  <a:pt x="6890410" y="3967690"/>
                  <a:pt x="7043131" y="3839097"/>
                  <a:pt x="7043131" y="3569208"/>
                </a:cubicBezTo>
                <a:cubicBezTo>
                  <a:pt x="7043131" y="3300909"/>
                  <a:pt x="6890410" y="3169139"/>
                  <a:pt x="6662920" y="3169139"/>
                </a:cubicBezTo>
                <a:close/>
                <a:moveTo>
                  <a:pt x="5988617" y="3169139"/>
                </a:moveTo>
                <a:cubicBezTo>
                  <a:pt x="5746934" y="3169139"/>
                  <a:pt x="5603832" y="3315197"/>
                  <a:pt x="5603832" y="3577146"/>
                </a:cubicBezTo>
                <a:cubicBezTo>
                  <a:pt x="5603832" y="3858147"/>
                  <a:pt x="5748524" y="3967690"/>
                  <a:pt x="5985437" y="3967690"/>
                </a:cubicBezTo>
                <a:cubicBezTo>
                  <a:pt x="6061757" y="3967690"/>
                  <a:pt x="6126947" y="3958165"/>
                  <a:pt x="6201678" y="3924826"/>
                </a:cubicBezTo>
                <a:cubicBezTo>
                  <a:pt x="6201678" y="3924826"/>
                  <a:pt x="6201678" y="3924826"/>
                  <a:pt x="6212808" y="3750192"/>
                </a:cubicBezTo>
                <a:cubicBezTo>
                  <a:pt x="6150798" y="3780356"/>
                  <a:pt x="6080837" y="3797819"/>
                  <a:pt x="6014056" y="3797819"/>
                </a:cubicBezTo>
                <a:cubicBezTo>
                  <a:pt x="5910705" y="3797819"/>
                  <a:pt x="5834385" y="3740667"/>
                  <a:pt x="5834385" y="3577146"/>
                </a:cubicBezTo>
                <a:cubicBezTo>
                  <a:pt x="5834385" y="3400926"/>
                  <a:pt x="5909116" y="3337422"/>
                  <a:pt x="6022006" y="3337422"/>
                </a:cubicBezTo>
                <a:cubicBezTo>
                  <a:pt x="6080837" y="3337422"/>
                  <a:pt x="6146028" y="3356474"/>
                  <a:pt x="6204858" y="3385050"/>
                </a:cubicBezTo>
                <a:cubicBezTo>
                  <a:pt x="6204858" y="3385050"/>
                  <a:pt x="6204858" y="3385050"/>
                  <a:pt x="6190548" y="3210416"/>
                </a:cubicBezTo>
                <a:cubicBezTo>
                  <a:pt x="6117407" y="3181840"/>
                  <a:pt x="6056987" y="3169139"/>
                  <a:pt x="5988617" y="3169139"/>
                </a:cubicBezTo>
                <a:close/>
                <a:moveTo>
                  <a:pt x="4806615" y="3169139"/>
                </a:moveTo>
                <a:cubicBezTo>
                  <a:pt x="4587221" y="3169139"/>
                  <a:pt x="4434600" y="3305671"/>
                  <a:pt x="4434600" y="3577147"/>
                </a:cubicBezTo>
                <a:cubicBezTo>
                  <a:pt x="4434600" y="3856560"/>
                  <a:pt x="4591991" y="3967690"/>
                  <a:pt x="4849541" y="3967690"/>
                </a:cubicBezTo>
                <a:cubicBezTo>
                  <a:pt x="4940160" y="3967690"/>
                  <a:pt x="5022830" y="3953402"/>
                  <a:pt x="5099141" y="3926413"/>
                </a:cubicBezTo>
                <a:cubicBezTo>
                  <a:pt x="5099141" y="3926413"/>
                  <a:pt x="5099141" y="3926413"/>
                  <a:pt x="5108680" y="3766068"/>
                </a:cubicBezTo>
                <a:cubicBezTo>
                  <a:pt x="5045087" y="3786707"/>
                  <a:pt x="4967187" y="3805758"/>
                  <a:pt x="4876567" y="3805758"/>
                </a:cubicBezTo>
                <a:cubicBezTo>
                  <a:pt x="4746203" y="3805758"/>
                  <a:pt x="4669892" y="3766068"/>
                  <a:pt x="4649224" y="3637474"/>
                </a:cubicBezTo>
                <a:cubicBezTo>
                  <a:pt x="4649224" y="3637474"/>
                  <a:pt x="4649224" y="3637474"/>
                  <a:pt x="5142066" y="3637474"/>
                </a:cubicBezTo>
                <a:cubicBezTo>
                  <a:pt x="5143655" y="3618423"/>
                  <a:pt x="5148425" y="3591435"/>
                  <a:pt x="5148425" y="3550157"/>
                </a:cubicBezTo>
                <a:cubicBezTo>
                  <a:pt x="5148425" y="3318372"/>
                  <a:pt x="5038728" y="3169139"/>
                  <a:pt x="4806615" y="3169139"/>
                </a:cubicBezTo>
                <a:close/>
                <a:moveTo>
                  <a:pt x="3091678" y="2902250"/>
                </a:moveTo>
                <a:lnTo>
                  <a:pt x="3308791" y="3947568"/>
                </a:lnTo>
                <a:lnTo>
                  <a:pt x="3594744" y="3947568"/>
                </a:lnTo>
                <a:lnTo>
                  <a:pt x="3750430" y="3264457"/>
                </a:lnTo>
                <a:lnTo>
                  <a:pt x="3905057" y="3947568"/>
                </a:lnTo>
                <a:lnTo>
                  <a:pt x="4193129" y="3947568"/>
                </a:lnTo>
                <a:lnTo>
                  <a:pt x="4409182" y="2902250"/>
                </a:lnTo>
                <a:lnTo>
                  <a:pt x="4200541" y="2902250"/>
                </a:lnTo>
                <a:lnTo>
                  <a:pt x="4044856" y="3703978"/>
                </a:lnTo>
                <a:lnTo>
                  <a:pt x="3870107" y="2902250"/>
                </a:lnTo>
                <a:lnTo>
                  <a:pt x="3644522" y="2902250"/>
                </a:lnTo>
                <a:lnTo>
                  <a:pt x="3469773" y="3707155"/>
                </a:lnTo>
                <a:lnTo>
                  <a:pt x="3314087" y="2902250"/>
                </a:lnTo>
                <a:close/>
                <a:moveTo>
                  <a:pt x="5479919" y="2794224"/>
                </a:moveTo>
                <a:lnTo>
                  <a:pt x="5273397" y="2817524"/>
                </a:lnTo>
                <a:lnTo>
                  <a:pt x="5273397" y="3947569"/>
                </a:lnTo>
                <a:lnTo>
                  <a:pt x="5479919" y="3947569"/>
                </a:lnTo>
                <a:close/>
                <a:moveTo>
                  <a:pt x="2496471" y="2568638"/>
                </a:moveTo>
                <a:cubicBezTo>
                  <a:pt x="2374147" y="2827585"/>
                  <a:pt x="2305836" y="3118304"/>
                  <a:pt x="2305836" y="3424909"/>
                </a:cubicBezTo>
                <a:cubicBezTo>
                  <a:pt x="2305836" y="3731515"/>
                  <a:pt x="2374147" y="4022234"/>
                  <a:pt x="2496471" y="4281181"/>
                </a:cubicBezTo>
                <a:cubicBezTo>
                  <a:pt x="2725234" y="4174743"/>
                  <a:pt x="2725234" y="4174743"/>
                  <a:pt x="2725234" y="4174743"/>
                </a:cubicBezTo>
                <a:cubicBezTo>
                  <a:pt x="2618796" y="3947569"/>
                  <a:pt x="2560016" y="3693388"/>
                  <a:pt x="2560016" y="3424909"/>
                </a:cubicBezTo>
                <a:cubicBezTo>
                  <a:pt x="2560016" y="3156432"/>
                  <a:pt x="2618796" y="2902250"/>
                  <a:pt x="2725234" y="2675076"/>
                </a:cubicBezTo>
                <a:cubicBezTo>
                  <a:pt x="2496471" y="2568638"/>
                  <a:pt x="2496471" y="2568638"/>
                  <a:pt x="2496471" y="2568638"/>
                </a:cubicBezTo>
                <a:close/>
                <a:moveTo>
                  <a:pt x="9021583" y="1764791"/>
                </a:moveTo>
                <a:cubicBezTo>
                  <a:pt x="8875352" y="1972902"/>
                  <a:pt x="8875352" y="1972902"/>
                  <a:pt x="8875352" y="1972902"/>
                </a:cubicBezTo>
                <a:cubicBezTo>
                  <a:pt x="9333118" y="2293805"/>
                  <a:pt x="9631937" y="2824407"/>
                  <a:pt x="9631937" y="3424909"/>
                </a:cubicBezTo>
                <a:cubicBezTo>
                  <a:pt x="9631937" y="4025412"/>
                  <a:pt x="9333118" y="4556014"/>
                  <a:pt x="8875352" y="4876918"/>
                </a:cubicBezTo>
                <a:cubicBezTo>
                  <a:pt x="9021583" y="5085028"/>
                  <a:pt x="9021583" y="5085028"/>
                  <a:pt x="9021583" y="5085028"/>
                </a:cubicBezTo>
                <a:cubicBezTo>
                  <a:pt x="9542927" y="4718054"/>
                  <a:pt x="9884662" y="4111198"/>
                  <a:pt x="9884662" y="3424909"/>
                </a:cubicBezTo>
                <a:cubicBezTo>
                  <a:pt x="9884662" y="2738621"/>
                  <a:pt x="9542927" y="2131764"/>
                  <a:pt x="9021583" y="1764791"/>
                </a:cubicBezTo>
                <a:close/>
                <a:moveTo>
                  <a:pt x="0" y="0"/>
                </a:moveTo>
                <a:lnTo>
                  <a:pt x="12070798" y="0"/>
                </a:lnTo>
                <a:lnTo>
                  <a:pt x="12070798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2BAC7702-5E65-4EDB-8265-9DA9A46759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8" y="6129339"/>
            <a:ext cx="7166539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24E3A2E-8ACE-42B5-8B14-BF5235EB29EE}"/>
              </a:ext>
            </a:extLst>
          </p:cNvPr>
          <p:cNvGrpSpPr/>
          <p:nvPr userDrawn="1"/>
        </p:nvGrpSpPr>
        <p:grpSpPr>
          <a:xfrm>
            <a:off x="12073965" y="-3096"/>
            <a:ext cx="127000" cy="6858000"/>
            <a:chOff x="12073965" y="-3096"/>
            <a:chExt cx="127000" cy="6096000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C54FBEB4-5705-4943-BC4D-C1F7EE49A996}"/>
                </a:ext>
              </a:extLst>
            </p:cNvPr>
            <p:cNvSpPr/>
            <p:nvPr/>
          </p:nvSpPr>
          <p:spPr>
            <a:xfrm>
              <a:off x="12073965" y="-3096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500D2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DB690048-70AE-475B-A6D0-66855AA459C4}"/>
                </a:ext>
              </a:extLst>
            </p:cNvPr>
            <p:cNvSpPr/>
            <p:nvPr/>
          </p:nvSpPr>
          <p:spPr>
            <a:xfrm>
              <a:off x="12073965" y="758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96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6D2C339F-F5F0-4F4F-A5C8-123DA48D452B}"/>
                </a:ext>
              </a:extLst>
            </p:cNvPr>
            <p:cNvSpPr/>
            <p:nvPr/>
          </p:nvSpPr>
          <p:spPr>
            <a:xfrm>
              <a:off x="12073965" y="377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650E35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37ACEE09-988B-4E32-A4EE-56BE2F7D13B2}"/>
                </a:ext>
              </a:extLst>
            </p:cNvPr>
            <p:cNvSpPr/>
            <p:nvPr/>
          </p:nvSpPr>
          <p:spPr>
            <a:xfrm>
              <a:off x="12073965" y="1139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A183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5E600B1-368F-4AFF-840E-CCB2C2D79EA0}"/>
                </a:ext>
              </a:extLst>
            </p:cNvPr>
            <p:cNvSpPr/>
            <p:nvPr/>
          </p:nvSpPr>
          <p:spPr>
            <a:xfrm>
              <a:off x="12073965" y="3044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A183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71EA16A-8505-416A-8789-57BE4700149E}"/>
                </a:ext>
              </a:extLst>
            </p:cNvPr>
            <p:cNvSpPr/>
            <p:nvPr/>
          </p:nvSpPr>
          <p:spPr>
            <a:xfrm>
              <a:off x="12073965" y="3806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500D2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D7EB991-79FE-4AB4-95BB-48E7ECE88F60}"/>
                </a:ext>
              </a:extLst>
            </p:cNvPr>
            <p:cNvSpPr/>
            <p:nvPr/>
          </p:nvSpPr>
          <p:spPr>
            <a:xfrm>
              <a:off x="12073965" y="3425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96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4126114-1378-4FEF-AC56-F35F8119FB82}"/>
                </a:ext>
              </a:extLst>
            </p:cNvPr>
            <p:cNvSpPr/>
            <p:nvPr/>
          </p:nvSpPr>
          <p:spPr>
            <a:xfrm>
              <a:off x="12073965" y="4187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650E35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E88BAC7-6C93-454A-8579-DF8F4EC01387}"/>
                </a:ext>
              </a:extLst>
            </p:cNvPr>
            <p:cNvSpPr/>
            <p:nvPr/>
          </p:nvSpPr>
          <p:spPr>
            <a:xfrm>
              <a:off x="12073965" y="1520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BE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7719383-69D8-4F12-AEE2-A346194B1D1F}"/>
                </a:ext>
              </a:extLst>
            </p:cNvPr>
            <p:cNvSpPr/>
            <p:nvPr/>
          </p:nvSpPr>
          <p:spPr>
            <a:xfrm>
              <a:off x="12073965" y="2282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F7721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D7A2322-7358-4779-A8E4-A7A571B42F55}"/>
                </a:ext>
              </a:extLst>
            </p:cNvPr>
            <p:cNvSpPr/>
            <p:nvPr/>
          </p:nvSpPr>
          <p:spPr>
            <a:xfrm>
              <a:off x="12073965" y="1901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DC0A34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B119983-3AFD-4C4C-AD94-80239BF7A79F}"/>
                </a:ext>
              </a:extLst>
            </p:cNvPr>
            <p:cNvSpPr/>
            <p:nvPr/>
          </p:nvSpPr>
          <p:spPr>
            <a:xfrm>
              <a:off x="12073965" y="2663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A5728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FC13726-D253-462A-9296-185F915649EF}"/>
                </a:ext>
              </a:extLst>
            </p:cNvPr>
            <p:cNvSpPr/>
            <p:nvPr/>
          </p:nvSpPr>
          <p:spPr>
            <a:xfrm>
              <a:off x="12073965" y="4568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88133E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ACD8737-71D3-4EE5-811D-F6D25F4AA670}"/>
                </a:ext>
              </a:extLst>
            </p:cNvPr>
            <p:cNvSpPr/>
            <p:nvPr/>
          </p:nvSpPr>
          <p:spPr>
            <a:xfrm>
              <a:off x="12073965" y="5330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8365C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5D29FF3-7D1F-4615-A2C8-5B9464CA8415}"/>
                </a:ext>
              </a:extLst>
            </p:cNvPr>
            <p:cNvSpPr/>
            <p:nvPr/>
          </p:nvSpPr>
          <p:spPr>
            <a:xfrm>
              <a:off x="12073965" y="4949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F184C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ED236FBC-B35A-4851-B06E-0C24A2647DE8}"/>
                </a:ext>
              </a:extLst>
            </p:cNvPr>
            <p:cNvSpPr/>
            <p:nvPr/>
          </p:nvSpPr>
          <p:spPr>
            <a:xfrm>
              <a:off x="12073965" y="5711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B5A7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82548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520905"/>
            <a:ext cx="7166539" cy="1637364"/>
          </a:xfrm>
          <a:prstGeom prst="rect">
            <a:avLst/>
          </a:prstGeom>
        </p:spPr>
        <p:txBody>
          <a:bodyPr lIns="0" tIns="36000" rIns="36000" bIns="36000" anchor="b">
            <a:noAutofit/>
          </a:bodyPr>
          <a:lstStyle>
            <a:lvl1pPr algn="l">
              <a:defRPr sz="4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176199"/>
            <a:ext cx="7166539" cy="732413"/>
          </a:xfrm>
          <a:prstGeom prst="rect">
            <a:avLst/>
          </a:prstGeom>
        </p:spPr>
        <p:txBody>
          <a:bodyPr lIns="0" tIns="36000" rIns="36000" bIns="3600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3DFAA06-BCA8-4754-92E2-D4CD633664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23038" y="4273068"/>
            <a:ext cx="7166539" cy="216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Add date</a:t>
            </a:r>
            <a:endParaRPr lang="en-GB"/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99D270A3-CD1B-4C74-9532-388A935625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23038" y="4514289"/>
            <a:ext cx="7166539" cy="216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Add name and surname of presenter</a:t>
            </a:r>
            <a:endParaRPr lang="en-GB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5BE95350-3536-4019-9595-2B716E16A6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98593" y="91026"/>
            <a:ext cx="1889091" cy="1847974"/>
          </a:xfrm>
          <a:prstGeom prst="rect">
            <a:avLst/>
          </a:prstGeom>
        </p:spPr>
      </p:pic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E24AF64D-F578-4193-95E2-BB473F64C4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8" y="6129339"/>
            <a:ext cx="7166539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</p:spTree>
    <p:extLst>
      <p:ext uri="{BB962C8B-B14F-4D97-AF65-F5344CB8AC3E}">
        <p14:creationId xmlns:p14="http://schemas.microsoft.com/office/powerpoint/2010/main" val="5445936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_cobra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520905"/>
            <a:ext cx="7166539" cy="1637364"/>
          </a:xfrm>
          <a:prstGeom prst="rect">
            <a:avLst/>
          </a:prstGeom>
        </p:spPr>
        <p:txBody>
          <a:bodyPr lIns="0" tIns="36000" rIns="36000" bIns="36000" anchor="b">
            <a:noAutofit/>
          </a:bodyPr>
          <a:lstStyle>
            <a:lvl1pPr algn="l">
              <a:defRPr sz="4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176199"/>
            <a:ext cx="7166539" cy="732413"/>
          </a:xfrm>
          <a:prstGeom prst="rect">
            <a:avLst/>
          </a:prstGeom>
        </p:spPr>
        <p:txBody>
          <a:bodyPr lIns="0" tIns="36000" rIns="36000" bIns="3600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3DFAA06-BCA8-4754-92E2-D4CD633664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23038" y="4273068"/>
            <a:ext cx="7166539" cy="216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Add date</a:t>
            </a:r>
            <a:endParaRPr lang="en-GB"/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99D270A3-CD1B-4C74-9532-388A935625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23038" y="4514289"/>
            <a:ext cx="7166539" cy="216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Add name and surname of presenter</a:t>
            </a:r>
            <a:endParaRPr lang="en-GB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5BE95350-3536-4019-9595-2B716E16A6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98593" y="91026"/>
            <a:ext cx="1889091" cy="1847974"/>
          </a:xfrm>
          <a:prstGeom prst="rect">
            <a:avLst/>
          </a:prstGeom>
        </p:spPr>
      </p:pic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E24AF64D-F578-4193-95E2-BB473F64C4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8" y="6129339"/>
            <a:ext cx="7166539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C725A8-685C-4247-9B92-D53F690536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23038" y="5118848"/>
            <a:ext cx="907362" cy="769270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en-US"/>
              <a:t>Add cobrand logo 1</a:t>
            </a:r>
            <a:endParaRPr lang="en-GB"/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064986E6-A23F-4AA9-874C-3AD76ABF0A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18438" y="5118848"/>
            <a:ext cx="907362" cy="769270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en-US"/>
              <a:t>Add cobrand logo 2</a:t>
            </a:r>
            <a:endParaRPr lang="en-GB"/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24CB8F9C-49AA-4300-8B42-5984CB52BE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13837" y="5118848"/>
            <a:ext cx="907362" cy="769270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en-US"/>
              <a:t>Add cobrand logo 3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54845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520905"/>
            <a:ext cx="7166539" cy="1637364"/>
          </a:xfrm>
          <a:prstGeom prst="rect">
            <a:avLst/>
          </a:prstGeom>
        </p:spPr>
        <p:txBody>
          <a:bodyPr lIns="0" tIns="36000" rIns="36000" bIns="36000" anchor="b">
            <a:noAutofit/>
          </a:bodyPr>
          <a:lstStyle>
            <a:lvl1pPr algn="l">
              <a:defRPr sz="44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176199"/>
            <a:ext cx="7166539" cy="732413"/>
          </a:xfrm>
          <a:prstGeom prst="rect">
            <a:avLst/>
          </a:prstGeom>
        </p:spPr>
        <p:txBody>
          <a:bodyPr lIns="0" tIns="36000" rIns="36000" bIns="3600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3DFAA06-BCA8-4754-92E2-D4CD633664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23038" y="4273068"/>
            <a:ext cx="7166539" cy="216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Add date</a:t>
            </a:r>
            <a:endParaRPr lang="en-GB"/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99D270A3-CD1B-4C74-9532-388A935625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23038" y="4514289"/>
            <a:ext cx="7166539" cy="216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Add name and surname of presenter</a:t>
            </a:r>
            <a:endParaRPr lang="en-GB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5BE95350-3536-4019-9595-2B716E16A6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98983" y="91026"/>
            <a:ext cx="1888312" cy="1847974"/>
          </a:xfrm>
          <a:prstGeom prst="rect">
            <a:avLst/>
          </a:prstGeom>
        </p:spPr>
      </p:pic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D23128A1-EDC7-4680-BB6B-7CB3E97405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8" y="6129339"/>
            <a:ext cx="7166539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</p:spTree>
    <p:extLst>
      <p:ext uri="{BB962C8B-B14F-4D97-AF65-F5344CB8AC3E}">
        <p14:creationId xmlns:p14="http://schemas.microsoft.com/office/powerpoint/2010/main" val="3510845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yellow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520905"/>
            <a:ext cx="7166539" cy="1637364"/>
          </a:xfrm>
          <a:prstGeom prst="rect">
            <a:avLst/>
          </a:prstGeom>
        </p:spPr>
        <p:txBody>
          <a:bodyPr lIns="0" tIns="36000" rIns="36000" bIns="36000" anchor="b">
            <a:noAutofit/>
          </a:bodyPr>
          <a:lstStyle>
            <a:lvl1pPr algn="l">
              <a:defRPr sz="44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176199"/>
            <a:ext cx="7166539" cy="732413"/>
          </a:xfrm>
          <a:prstGeom prst="rect">
            <a:avLst/>
          </a:prstGeom>
        </p:spPr>
        <p:txBody>
          <a:bodyPr lIns="0" tIns="36000" rIns="36000" bIns="3600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3DFAA06-BCA8-4754-92E2-D4CD633664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23038" y="4273068"/>
            <a:ext cx="7166539" cy="216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Add date</a:t>
            </a:r>
            <a:endParaRPr lang="en-GB"/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99D270A3-CD1B-4C74-9532-388A935625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23038" y="4514289"/>
            <a:ext cx="7166539" cy="216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Add name and surname of presenter</a:t>
            </a:r>
            <a:endParaRPr lang="en-GB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6DA9D6C-9ED9-4AC5-BA48-6944457E65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98983" y="91026"/>
            <a:ext cx="1888312" cy="1847974"/>
          </a:xfrm>
          <a:prstGeom prst="rect">
            <a:avLst/>
          </a:prstGeom>
        </p:spPr>
      </p:pic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D6783A12-C2E3-445B-A54D-6980960317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8" y="6129339"/>
            <a:ext cx="7166539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</p:spTree>
    <p:extLst>
      <p:ext uri="{BB962C8B-B14F-4D97-AF65-F5344CB8AC3E}">
        <p14:creationId xmlns:p14="http://schemas.microsoft.com/office/powerpoint/2010/main" val="7247809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ran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520905"/>
            <a:ext cx="7166539" cy="1637364"/>
          </a:xfrm>
          <a:prstGeom prst="rect">
            <a:avLst/>
          </a:prstGeom>
        </p:spPr>
        <p:txBody>
          <a:bodyPr lIns="0" tIns="36000" rIns="36000" bIns="36000" anchor="b">
            <a:noAutofit/>
          </a:bodyPr>
          <a:lstStyle>
            <a:lvl1pPr algn="l">
              <a:defRPr sz="44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176199"/>
            <a:ext cx="7166539" cy="732413"/>
          </a:xfrm>
          <a:prstGeom prst="rect">
            <a:avLst/>
          </a:prstGeom>
        </p:spPr>
        <p:txBody>
          <a:bodyPr lIns="0" tIns="36000" rIns="36000" bIns="3600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7200D456-A243-45F2-9216-DF8585E26C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6" y="6129339"/>
            <a:ext cx="7167600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3DFAA06-BCA8-4754-92E2-D4CD633664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23038" y="4273068"/>
            <a:ext cx="7166539" cy="216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Add date</a:t>
            </a:r>
            <a:endParaRPr lang="en-GB"/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99D270A3-CD1B-4C74-9532-388A935625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23038" y="4514289"/>
            <a:ext cx="7166539" cy="216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Add name and surname of presenter</a:t>
            </a:r>
            <a:endParaRPr lang="en-GB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6DA9D6C-9ED9-4AC5-BA48-6944457E65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98983" y="91026"/>
            <a:ext cx="1888312" cy="1847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59405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n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520905"/>
            <a:ext cx="7166539" cy="1637364"/>
          </a:xfrm>
          <a:prstGeom prst="rect">
            <a:avLst/>
          </a:prstGeom>
        </p:spPr>
        <p:txBody>
          <a:bodyPr lIns="0" tIns="36000" rIns="36000" bIns="36000" anchor="b">
            <a:noAutofit/>
          </a:bodyPr>
          <a:lstStyle>
            <a:lvl1pPr algn="l">
              <a:defRPr sz="44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176199"/>
            <a:ext cx="7166539" cy="732413"/>
          </a:xfrm>
          <a:prstGeom prst="rect">
            <a:avLst/>
          </a:prstGeom>
        </p:spPr>
        <p:txBody>
          <a:bodyPr lIns="0" tIns="36000" rIns="36000" bIns="3600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7200D456-A243-45F2-9216-DF8585E26C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6" y="6129339"/>
            <a:ext cx="7178400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3DFAA06-BCA8-4754-92E2-D4CD633664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23038" y="4273068"/>
            <a:ext cx="7166539" cy="216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Add date</a:t>
            </a:r>
            <a:endParaRPr lang="en-GB"/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99D270A3-CD1B-4C74-9532-388A935625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23038" y="4514289"/>
            <a:ext cx="7166539" cy="216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Add name and surname of presenter</a:t>
            </a:r>
            <a:endParaRPr lang="en-GB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6DA9D6C-9ED9-4AC5-BA48-6944457E65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98983" y="91026"/>
            <a:ext cx="1888312" cy="1847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4518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lum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520905"/>
            <a:ext cx="7166539" cy="1637364"/>
          </a:xfrm>
          <a:prstGeom prst="rect">
            <a:avLst/>
          </a:prstGeom>
        </p:spPr>
        <p:txBody>
          <a:bodyPr lIns="0" tIns="36000" rIns="36000" bIns="36000" anchor="b">
            <a:noAutofit/>
          </a:bodyPr>
          <a:lstStyle>
            <a:lvl1pPr algn="l">
              <a:defRPr sz="44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176199"/>
            <a:ext cx="7166539" cy="732413"/>
          </a:xfrm>
          <a:prstGeom prst="rect">
            <a:avLst/>
          </a:prstGeom>
        </p:spPr>
        <p:txBody>
          <a:bodyPr lIns="0" tIns="36000" rIns="36000" bIns="3600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7200D456-A243-45F2-9216-DF8585E26C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8" y="6129339"/>
            <a:ext cx="7166539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3DFAA06-BCA8-4754-92E2-D4CD633664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23038" y="4273068"/>
            <a:ext cx="7166539" cy="216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Add date</a:t>
            </a:r>
            <a:endParaRPr lang="en-GB"/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99D270A3-CD1B-4C74-9532-388A935625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23038" y="4514289"/>
            <a:ext cx="7166539" cy="216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Add name and surname of presenter</a:t>
            </a:r>
            <a:endParaRPr lang="en-GB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6DA9D6C-9ED9-4AC5-BA48-6944457E65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98983" y="91026"/>
            <a:ext cx="1888312" cy="1847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0855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ark plum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520905"/>
            <a:ext cx="7166539" cy="1637364"/>
          </a:xfrm>
          <a:prstGeom prst="rect">
            <a:avLst/>
          </a:prstGeom>
        </p:spPr>
        <p:txBody>
          <a:bodyPr lIns="0" tIns="36000" rIns="36000" bIns="36000" anchor="b">
            <a:noAutofit/>
          </a:bodyPr>
          <a:lstStyle>
            <a:lvl1pPr algn="l">
              <a:defRPr sz="44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176199"/>
            <a:ext cx="7166539" cy="732413"/>
          </a:xfrm>
          <a:prstGeom prst="rect">
            <a:avLst/>
          </a:prstGeom>
        </p:spPr>
        <p:txBody>
          <a:bodyPr lIns="0" tIns="36000" rIns="36000" bIns="3600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7200D456-A243-45F2-9216-DF8585E26C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6" y="6129339"/>
            <a:ext cx="7167600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3DFAA06-BCA8-4754-92E2-D4CD633664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23038" y="4273068"/>
            <a:ext cx="7166539" cy="216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Add date</a:t>
            </a:r>
            <a:endParaRPr lang="en-GB"/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99D270A3-CD1B-4C74-9532-388A935625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23038" y="4514289"/>
            <a:ext cx="7166539" cy="216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Add name and surname of presenter</a:t>
            </a:r>
            <a:endParaRPr lang="en-GB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6DA9D6C-9ED9-4AC5-BA48-6944457E65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98983" y="91026"/>
            <a:ext cx="1888312" cy="1847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4862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46DA9D6C-9ED9-4AC5-BA48-6944457E65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15312" y="91026"/>
            <a:ext cx="1888312" cy="1847974"/>
          </a:xfrm>
          <a:prstGeom prst="rect">
            <a:avLst/>
          </a:prstGeom>
        </p:spPr>
      </p:pic>
      <p:sp>
        <p:nvSpPr>
          <p:cNvPr id="61" name="Picture Placeholder 60">
            <a:extLst>
              <a:ext uri="{FF2B5EF4-FFF2-40B4-BE49-F238E27FC236}">
                <a16:creationId xmlns:a16="http://schemas.microsoft.com/office/drawing/2014/main" id="{45E5E7DA-1E99-441A-841C-ED8D047A314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1"/>
            <a:ext cx="12103100" cy="6890657"/>
          </a:xfrm>
          <a:custGeom>
            <a:avLst/>
            <a:gdLst>
              <a:gd name="connsiteX0" fmla="*/ 10637654 w 12073965"/>
              <a:gd name="connsiteY0" fmla="*/ 1206076 h 6858000"/>
              <a:gd name="connsiteX1" fmla="*/ 10579711 w 12073965"/>
              <a:gd name="connsiteY1" fmla="*/ 1233121 h 6858000"/>
              <a:gd name="connsiteX2" fmla="*/ 11043258 w 12073965"/>
              <a:gd name="connsiteY2" fmla="*/ 1528067 h 6858000"/>
              <a:gd name="connsiteX3" fmla="*/ 11506805 w 12073965"/>
              <a:gd name="connsiteY3" fmla="*/ 1233121 h 6858000"/>
              <a:gd name="connsiteX4" fmla="*/ 11448862 w 12073965"/>
              <a:gd name="connsiteY4" fmla="*/ 1206076 h 6858000"/>
              <a:gd name="connsiteX5" fmla="*/ 11043258 w 12073965"/>
              <a:gd name="connsiteY5" fmla="*/ 1464114 h 6858000"/>
              <a:gd name="connsiteX6" fmla="*/ 10637654 w 12073965"/>
              <a:gd name="connsiteY6" fmla="*/ 1206076 h 6858000"/>
              <a:gd name="connsiteX7" fmla="*/ 11373556 w 12073965"/>
              <a:gd name="connsiteY7" fmla="*/ 1029296 h 6858000"/>
              <a:gd name="connsiteX8" fmla="*/ 11373556 w 12073965"/>
              <a:gd name="connsiteY8" fmla="*/ 1072273 h 6858000"/>
              <a:gd name="connsiteX9" fmla="*/ 11347339 w 12073965"/>
              <a:gd name="connsiteY9" fmla="*/ 1074820 h 6858000"/>
              <a:gd name="connsiteX10" fmla="*/ 11314408 w 12073965"/>
              <a:gd name="connsiteY10" fmla="*/ 1051581 h 6858000"/>
              <a:gd name="connsiteX11" fmla="*/ 11343183 w 12073965"/>
              <a:gd name="connsiteY11" fmla="*/ 1031206 h 6858000"/>
              <a:gd name="connsiteX12" fmla="*/ 11373556 w 12073965"/>
              <a:gd name="connsiteY12" fmla="*/ 1029296 h 6858000"/>
              <a:gd name="connsiteX13" fmla="*/ 10772440 w 12073965"/>
              <a:gd name="connsiteY13" fmla="*/ 1029296 h 6858000"/>
              <a:gd name="connsiteX14" fmla="*/ 10772440 w 12073965"/>
              <a:gd name="connsiteY14" fmla="*/ 1072273 h 6858000"/>
              <a:gd name="connsiteX15" fmla="*/ 10746371 w 12073965"/>
              <a:gd name="connsiteY15" fmla="*/ 1074820 h 6858000"/>
              <a:gd name="connsiteX16" fmla="*/ 10713625 w 12073965"/>
              <a:gd name="connsiteY16" fmla="*/ 1051581 h 6858000"/>
              <a:gd name="connsiteX17" fmla="*/ 10742238 w 12073965"/>
              <a:gd name="connsiteY17" fmla="*/ 1031206 h 6858000"/>
              <a:gd name="connsiteX18" fmla="*/ 10772440 w 12073965"/>
              <a:gd name="connsiteY18" fmla="*/ 1029296 h 6858000"/>
              <a:gd name="connsiteX19" fmla="*/ 10945198 w 12073965"/>
              <a:gd name="connsiteY19" fmla="*/ 960845 h 6858000"/>
              <a:gd name="connsiteX20" fmla="*/ 10988098 w 12073965"/>
              <a:gd name="connsiteY20" fmla="*/ 1017334 h 6858000"/>
              <a:gd name="connsiteX21" fmla="*/ 10945198 w 12073965"/>
              <a:gd name="connsiteY21" fmla="*/ 1073824 h 6858000"/>
              <a:gd name="connsiteX22" fmla="*/ 10915326 w 12073965"/>
              <a:gd name="connsiteY22" fmla="*/ 1070015 h 6858000"/>
              <a:gd name="connsiteX23" fmla="*/ 10915326 w 12073965"/>
              <a:gd name="connsiteY23" fmla="*/ 964970 h 6858000"/>
              <a:gd name="connsiteX24" fmla="*/ 10945198 w 12073965"/>
              <a:gd name="connsiteY24" fmla="*/ 960845 h 6858000"/>
              <a:gd name="connsiteX25" fmla="*/ 11158645 w 12073965"/>
              <a:gd name="connsiteY25" fmla="*/ 915321 h 6858000"/>
              <a:gd name="connsiteX26" fmla="*/ 11069509 w 12073965"/>
              <a:gd name="connsiteY26" fmla="*/ 982058 h 6858000"/>
              <a:gd name="connsiteX27" fmla="*/ 11139226 w 12073965"/>
              <a:gd name="connsiteY27" fmla="*/ 1035766 h 6858000"/>
              <a:gd name="connsiteX28" fmla="*/ 11182202 w 12073965"/>
              <a:gd name="connsiteY28" fmla="*/ 1054198 h 6858000"/>
              <a:gd name="connsiteX29" fmla="*/ 11142091 w 12073965"/>
              <a:gd name="connsiteY29" fmla="*/ 1073902 h 6858000"/>
              <a:gd name="connsiteX30" fmla="*/ 11073966 w 12073965"/>
              <a:gd name="connsiteY30" fmla="*/ 1064051 h 6858000"/>
              <a:gd name="connsiteX31" fmla="*/ 11078104 w 12073965"/>
              <a:gd name="connsiteY31" fmla="*/ 1108225 h 6858000"/>
              <a:gd name="connsiteX32" fmla="*/ 11146230 w 12073965"/>
              <a:gd name="connsiteY32" fmla="*/ 1119347 h 6858000"/>
              <a:gd name="connsiteX33" fmla="*/ 11236320 w 12073965"/>
              <a:gd name="connsiteY33" fmla="*/ 1054516 h 6858000"/>
              <a:gd name="connsiteX34" fmla="*/ 11160555 w 12073965"/>
              <a:gd name="connsiteY34" fmla="*/ 993817 h 6858000"/>
              <a:gd name="connsiteX35" fmla="*/ 11123309 w 12073965"/>
              <a:gd name="connsiteY35" fmla="*/ 980469 h 6858000"/>
              <a:gd name="connsiteX36" fmla="*/ 11162465 w 12073965"/>
              <a:gd name="connsiteY36" fmla="*/ 960765 h 6858000"/>
              <a:gd name="connsiteX37" fmla="*/ 11221358 w 12073965"/>
              <a:gd name="connsiteY37" fmla="*/ 968076 h 6858000"/>
              <a:gd name="connsiteX38" fmla="*/ 11217220 w 12073965"/>
              <a:gd name="connsiteY38" fmla="*/ 924219 h 6858000"/>
              <a:gd name="connsiteX39" fmla="*/ 11158645 w 12073965"/>
              <a:gd name="connsiteY39" fmla="*/ 915321 h 6858000"/>
              <a:gd name="connsiteX40" fmla="*/ 11340156 w 12073965"/>
              <a:gd name="connsiteY40" fmla="*/ 915320 h 6858000"/>
              <a:gd name="connsiteX41" fmla="*/ 11279676 w 12073965"/>
              <a:gd name="connsiteY41" fmla="*/ 924218 h 6858000"/>
              <a:gd name="connsiteX42" fmla="*/ 11275538 w 12073965"/>
              <a:gd name="connsiteY42" fmla="*/ 968075 h 6858000"/>
              <a:gd name="connsiteX43" fmla="*/ 11334426 w 12073965"/>
              <a:gd name="connsiteY43" fmla="*/ 960765 h 6858000"/>
              <a:gd name="connsiteX44" fmla="*/ 11373578 w 12073965"/>
              <a:gd name="connsiteY44" fmla="*/ 985554 h 6858000"/>
              <a:gd name="connsiteX45" fmla="*/ 11373578 w 12073965"/>
              <a:gd name="connsiteY45" fmla="*/ 991910 h 6858000"/>
              <a:gd name="connsiteX46" fmla="*/ 11336336 w 12073965"/>
              <a:gd name="connsiteY46" fmla="*/ 993817 h 6858000"/>
              <a:gd name="connsiteX47" fmla="*/ 11260577 w 12073965"/>
              <a:gd name="connsiteY47" fmla="*/ 1054516 h 6858000"/>
              <a:gd name="connsiteX48" fmla="*/ 11346204 w 12073965"/>
              <a:gd name="connsiteY48" fmla="*/ 1119347 h 6858000"/>
              <a:gd name="connsiteX49" fmla="*/ 11427055 w 12073965"/>
              <a:gd name="connsiteY49" fmla="*/ 1106000 h 6858000"/>
              <a:gd name="connsiteX50" fmla="*/ 11427055 w 12073965"/>
              <a:gd name="connsiteY50" fmla="*/ 982058 h 6858000"/>
              <a:gd name="connsiteX51" fmla="*/ 11340156 w 12073965"/>
              <a:gd name="connsiteY51" fmla="*/ 915320 h 6858000"/>
              <a:gd name="connsiteX52" fmla="*/ 10739040 w 12073965"/>
              <a:gd name="connsiteY52" fmla="*/ 915320 h 6858000"/>
              <a:gd name="connsiteX53" fmla="*/ 10678560 w 12073965"/>
              <a:gd name="connsiteY53" fmla="*/ 924218 h 6858000"/>
              <a:gd name="connsiteX54" fmla="*/ 10674422 w 12073965"/>
              <a:gd name="connsiteY54" fmla="*/ 968075 h 6858000"/>
              <a:gd name="connsiteX55" fmla="*/ 10733310 w 12073965"/>
              <a:gd name="connsiteY55" fmla="*/ 960765 h 6858000"/>
              <a:gd name="connsiteX56" fmla="*/ 10772462 w 12073965"/>
              <a:gd name="connsiteY56" fmla="*/ 985554 h 6858000"/>
              <a:gd name="connsiteX57" fmla="*/ 10772462 w 12073965"/>
              <a:gd name="connsiteY57" fmla="*/ 991910 h 6858000"/>
              <a:gd name="connsiteX58" fmla="*/ 10735220 w 12073965"/>
              <a:gd name="connsiteY58" fmla="*/ 993817 h 6858000"/>
              <a:gd name="connsiteX59" fmla="*/ 10659461 w 12073965"/>
              <a:gd name="connsiteY59" fmla="*/ 1054516 h 6858000"/>
              <a:gd name="connsiteX60" fmla="*/ 10745088 w 12073965"/>
              <a:gd name="connsiteY60" fmla="*/ 1119347 h 6858000"/>
              <a:gd name="connsiteX61" fmla="*/ 10825939 w 12073965"/>
              <a:gd name="connsiteY61" fmla="*/ 1106000 h 6858000"/>
              <a:gd name="connsiteX62" fmla="*/ 10825939 w 12073965"/>
              <a:gd name="connsiteY62" fmla="*/ 982058 h 6858000"/>
              <a:gd name="connsiteX63" fmla="*/ 10739040 w 12073965"/>
              <a:gd name="connsiteY63" fmla="*/ 915320 h 6858000"/>
              <a:gd name="connsiteX64" fmla="*/ 11523780 w 12073965"/>
              <a:gd name="connsiteY64" fmla="*/ 842549 h 6858000"/>
              <a:gd name="connsiteX65" fmla="*/ 11463940 w 12073965"/>
              <a:gd name="connsiteY65" fmla="*/ 864476 h 6858000"/>
              <a:gd name="connsiteX66" fmla="*/ 11490677 w 12073965"/>
              <a:gd name="connsiteY66" fmla="*/ 1017334 h 6858000"/>
              <a:gd name="connsiteX67" fmla="*/ 11463940 w 12073965"/>
              <a:gd name="connsiteY67" fmla="*/ 1170192 h 6858000"/>
              <a:gd name="connsiteX68" fmla="*/ 11523780 w 12073965"/>
              <a:gd name="connsiteY68" fmla="*/ 1192119 h 6858000"/>
              <a:gd name="connsiteX69" fmla="*/ 11554655 w 12073965"/>
              <a:gd name="connsiteY69" fmla="*/ 1017334 h 6858000"/>
              <a:gd name="connsiteX70" fmla="*/ 11523780 w 12073965"/>
              <a:gd name="connsiteY70" fmla="*/ 842549 h 6858000"/>
              <a:gd name="connsiteX71" fmla="*/ 10562736 w 12073965"/>
              <a:gd name="connsiteY71" fmla="*/ 842549 h 6858000"/>
              <a:gd name="connsiteX72" fmla="*/ 10531862 w 12073965"/>
              <a:gd name="connsiteY72" fmla="*/ 1017334 h 6858000"/>
              <a:gd name="connsiteX73" fmla="*/ 10562736 w 12073965"/>
              <a:gd name="connsiteY73" fmla="*/ 1192119 h 6858000"/>
              <a:gd name="connsiteX74" fmla="*/ 10622577 w 12073965"/>
              <a:gd name="connsiteY74" fmla="*/ 1170192 h 6858000"/>
              <a:gd name="connsiteX75" fmla="*/ 10595840 w 12073965"/>
              <a:gd name="connsiteY75" fmla="*/ 1017334 h 6858000"/>
              <a:gd name="connsiteX76" fmla="*/ 10622577 w 12073965"/>
              <a:gd name="connsiteY76" fmla="*/ 864476 h 6858000"/>
              <a:gd name="connsiteX77" fmla="*/ 10562736 w 12073965"/>
              <a:gd name="connsiteY77" fmla="*/ 842549 h 6858000"/>
              <a:gd name="connsiteX78" fmla="*/ 10915312 w 12073965"/>
              <a:gd name="connsiteY78" fmla="*/ 813307 h 6858000"/>
              <a:gd name="connsiteX79" fmla="*/ 10862159 w 12073965"/>
              <a:gd name="connsiteY79" fmla="*/ 819028 h 6858000"/>
              <a:gd name="connsiteX80" fmla="*/ 10862159 w 12073965"/>
              <a:gd name="connsiteY80" fmla="*/ 1106000 h 6858000"/>
              <a:gd name="connsiteX81" fmla="*/ 10941092 w 12073965"/>
              <a:gd name="connsiteY81" fmla="*/ 1119348 h 6858000"/>
              <a:gd name="connsiteX82" fmla="*/ 11043258 w 12073965"/>
              <a:gd name="connsiteY82" fmla="*/ 1017334 h 6858000"/>
              <a:gd name="connsiteX83" fmla="*/ 10953823 w 12073965"/>
              <a:gd name="connsiteY83" fmla="*/ 915321 h 6858000"/>
              <a:gd name="connsiteX84" fmla="*/ 10915312 w 12073965"/>
              <a:gd name="connsiteY84" fmla="*/ 920088 h 6858000"/>
              <a:gd name="connsiteX85" fmla="*/ 10915312 w 12073965"/>
              <a:gd name="connsiteY85" fmla="*/ 813307 h 6858000"/>
              <a:gd name="connsiteX86" fmla="*/ 11043258 w 12073965"/>
              <a:gd name="connsiteY86" fmla="*/ 506601 h 6858000"/>
              <a:gd name="connsiteX87" fmla="*/ 10579711 w 12073965"/>
              <a:gd name="connsiteY87" fmla="*/ 801548 h 6858000"/>
              <a:gd name="connsiteX88" fmla="*/ 10637655 w 12073965"/>
              <a:gd name="connsiteY88" fmla="*/ 828593 h 6858000"/>
              <a:gd name="connsiteX89" fmla="*/ 11043258 w 12073965"/>
              <a:gd name="connsiteY89" fmla="*/ 570554 h 6858000"/>
              <a:gd name="connsiteX90" fmla="*/ 11448862 w 12073965"/>
              <a:gd name="connsiteY90" fmla="*/ 828593 h 6858000"/>
              <a:gd name="connsiteX91" fmla="*/ 11506805 w 12073965"/>
              <a:gd name="connsiteY91" fmla="*/ 801548 h 6858000"/>
              <a:gd name="connsiteX92" fmla="*/ 11043258 w 12073965"/>
              <a:gd name="connsiteY92" fmla="*/ 506601 h 6858000"/>
              <a:gd name="connsiteX93" fmla="*/ 0 w 12073965"/>
              <a:gd name="connsiteY93" fmla="*/ 0 h 6858000"/>
              <a:gd name="connsiteX94" fmla="*/ 8083685 w 12073965"/>
              <a:gd name="connsiteY94" fmla="*/ 0 h 6858000"/>
              <a:gd name="connsiteX95" fmla="*/ 8527143 w 12073965"/>
              <a:gd name="connsiteY95" fmla="*/ 0 h 6858000"/>
              <a:gd name="connsiteX96" fmla="*/ 12073965 w 12073965"/>
              <a:gd name="connsiteY96" fmla="*/ 0 h 6858000"/>
              <a:gd name="connsiteX97" fmla="*/ 12073965 w 12073965"/>
              <a:gd name="connsiteY97" fmla="*/ 2429182 h 6858000"/>
              <a:gd name="connsiteX98" fmla="*/ 12073965 w 12073965"/>
              <a:gd name="connsiteY98" fmla="*/ 2682094 h 6858000"/>
              <a:gd name="connsiteX99" fmla="*/ 12073965 w 12073965"/>
              <a:gd name="connsiteY99" fmla="*/ 5221368 h 6858000"/>
              <a:gd name="connsiteX100" fmla="*/ 8527143 w 12073965"/>
              <a:gd name="connsiteY100" fmla="*/ 5221368 h 6858000"/>
              <a:gd name="connsiteX101" fmla="*/ 8527143 w 12073965"/>
              <a:gd name="connsiteY101" fmla="*/ 6858000 h 6858000"/>
              <a:gd name="connsiteX102" fmla="*/ 0 w 12073965"/>
              <a:gd name="connsiteY102" fmla="*/ 6858000 h 6858000"/>
              <a:gd name="connsiteX0" fmla="*/ 10637654 w 12073965"/>
              <a:gd name="connsiteY0" fmla="*/ 1206076 h 6858000"/>
              <a:gd name="connsiteX1" fmla="*/ 10579711 w 12073965"/>
              <a:gd name="connsiteY1" fmla="*/ 1233121 h 6858000"/>
              <a:gd name="connsiteX2" fmla="*/ 11043258 w 12073965"/>
              <a:gd name="connsiteY2" fmla="*/ 1528067 h 6858000"/>
              <a:gd name="connsiteX3" fmla="*/ 11506805 w 12073965"/>
              <a:gd name="connsiteY3" fmla="*/ 1233121 h 6858000"/>
              <a:gd name="connsiteX4" fmla="*/ 11448862 w 12073965"/>
              <a:gd name="connsiteY4" fmla="*/ 1206076 h 6858000"/>
              <a:gd name="connsiteX5" fmla="*/ 11043258 w 12073965"/>
              <a:gd name="connsiteY5" fmla="*/ 1464114 h 6858000"/>
              <a:gd name="connsiteX6" fmla="*/ 10637654 w 12073965"/>
              <a:gd name="connsiteY6" fmla="*/ 1206076 h 6858000"/>
              <a:gd name="connsiteX7" fmla="*/ 11373556 w 12073965"/>
              <a:gd name="connsiteY7" fmla="*/ 1029296 h 6858000"/>
              <a:gd name="connsiteX8" fmla="*/ 11373556 w 12073965"/>
              <a:gd name="connsiteY8" fmla="*/ 1072273 h 6858000"/>
              <a:gd name="connsiteX9" fmla="*/ 11347339 w 12073965"/>
              <a:gd name="connsiteY9" fmla="*/ 1074820 h 6858000"/>
              <a:gd name="connsiteX10" fmla="*/ 11314408 w 12073965"/>
              <a:gd name="connsiteY10" fmla="*/ 1051581 h 6858000"/>
              <a:gd name="connsiteX11" fmla="*/ 11343183 w 12073965"/>
              <a:gd name="connsiteY11" fmla="*/ 1031206 h 6858000"/>
              <a:gd name="connsiteX12" fmla="*/ 11373556 w 12073965"/>
              <a:gd name="connsiteY12" fmla="*/ 1029296 h 6858000"/>
              <a:gd name="connsiteX13" fmla="*/ 10772440 w 12073965"/>
              <a:gd name="connsiteY13" fmla="*/ 1029296 h 6858000"/>
              <a:gd name="connsiteX14" fmla="*/ 10772440 w 12073965"/>
              <a:gd name="connsiteY14" fmla="*/ 1072273 h 6858000"/>
              <a:gd name="connsiteX15" fmla="*/ 10746371 w 12073965"/>
              <a:gd name="connsiteY15" fmla="*/ 1074820 h 6858000"/>
              <a:gd name="connsiteX16" fmla="*/ 10713625 w 12073965"/>
              <a:gd name="connsiteY16" fmla="*/ 1051581 h 6858000"/>
              <a:gd name="connsiteX17" fmla="*/ 10742238 w 12073965"/>
              <a:gd name="connsiteY17" fmla="*/ 1031206 h 6858000"/>
              <a:gd name="connsiteX18" fmla="*/ 10772440 w 12073965"/>
              <a:gd name="connsiteY18" fmla="*/ 1029296 h 6858000"/>
              <a:gd name="connsiteX19" fmla="*/ 10945198 w 12073965"/>
              <a:gd name="connsiteY19" fmla="*/ 960845 h 6858000"/>
              <a:gd name="connsiteX20" fmla="*/ 10988098 w 12073965"/>
              <a:gd name="connsiteY20" fmla="*/ 1017334 h 6858000"/>
              <a:gd name="connsiteX21" fmla="*/ 10945198 w 12073965"/>
              <a:gd name="connsiteY21" fmla="*/ 1073824 h 6858000"/>
              <a:gd name="connsiteX22" fmla="*/ 10915326 w 12073965"/>
              <a:gd name="connsiteY22" fmla="*/ 1070015 h 6858000"/>
              <a:gd name="connsiteX23" fmla="*/ 10915326 w 12073965"/>
              <a:gd name="connsiteY23" fmla="*/ 964970 h 6858000"/>
              <a:gd name="connsiteX24" fmla="*/ 10945198 w 12073965"/>
              <a:gd name="connsiteY24" fmla="*/ 960845 h 6858000"/>
              <a:gd name="connsiteX25" fmla="*/ 11158645 w 12073965"/>
              <a:gd name="connsiteY25" fmla="*/ 915321 h 6858000"/>
              <a:gd name="connsiteX26" fmla="*/ 11069509 w 12073965"/>
              <a:gd name="connsiteY26" fmla="*/ 982058 h 6858000"/>
              <a:gd name="connsiteX27" fmla="*/ 11139226 w 12073965"/>
              <a:gd name="connsiteY27" fmla="*/ 1035766 h 6858000"/>
              <a:gd name="connsiteX28" fmla="*/ 11182202 w 12073965"/>
              <a:gd name="connsiteY28" fmla="*/ 1054198 h 6858000"/>
              <a:gd name="connsiteX29" fmla="*/ 11142091 w 12073965"/>
              <a:gd name="connsiteY29" fmla="*/ 1073902 h 6858000"/>
              <a:gd name="connsiteX30" fmla="*/ 11073966 w 12073965"/>
              <a:gd name="connsiteY30" fmla="*/ 1064051 h 6858000"/>
              <a:gd name="connsiteX31" fmla="*/ 11078104 w 12073965"/>
              <a:gd name="connsiteY31" fmla="*/ 1108225 h 6858000"/>
              <a:gd name="connsiteX32" fmla="*/ 11146230 w 12073965"/>
              <a:gd name="connsiteY32" fmla="*/ 1119347 h 6858000"/>
              <a:gd name="connsiteX33" fmla="*/ 11236320 w 12073965"/>
              <a:gd name="connsiteY33" fmla="*/ 1054516 h 6858000"/>
              <a:gd name="connsiteX34" fmla="*/ 11160555 w 12073965"/>
              <a:gd name="connsiteY34" fmla="*/ 993817 h 6858000"/>
              <a:gd name="connsiteX35" fmla="*/ 11123309 w 12073965"/>
              <a:gd name="connsiteY35" fmla="*/ 980469 h 6858000"/>
              <a:gd name="connsiteX36" fmla="*/ 11162465 w 12073965"/>
              <a:gd name="connsiteY36" fmla="*/ 960765 h 6858000"/>
              <a:gd name="connsiteX37" fmla="*/ 11221358 w 12073965"/>
              <a:gd name="connsiteY37" fmla="*/ 968076 h 6858000"/>
              <a:gd name="connsiteX38" fmla="*/ 11217220 w 12073965"/>
              <a:gd name="connsiteY38" fmla="*/ 924219 h 6858000"/>
              <a:gd name="connsiteX39" fmla="*/ 11158645 w 12073965"/>
              <a:gd name="connsiteY39" fmla="*/ 915321 h 6858000"/>
              <a:gd name="connsiteX40" fmla="*/ 11340156 w 12073965"/>
              <a:gd name="connsiteY40" fmla="*/ 915320 h 6858000"/>
              <a:gd name="connsiteX41" fmla="*/ 11279676 w 12073965"/>
              <a:gd name="connsiteY41" fmla="*/ 924218 h 6858000"/>
              <a:gd name="connsiteX42" fmla="*/ 11275538 w 12073965"/>
              <a:gd name="connsiteY42" fmla="*/ 968075 h 6858000"/>
              <a:gd name="connsiteX43" fmla="*/ 11334426 w 12073965"/>
              <a:gd name="connsiteY43" fmla="*/ 960765 h 6858000"/>
              <a:gd name="connsiteX44" fmla="*/ 11373578 w 12073965"/>
              <a:gd name="connsiteY44" fmla="*/ 985554 h 6858000"/>
              <a:gd name="connsiteX45" fmla="*/ 11373578 w 12073965"/>
              <a:gd name="connsiteY45" fmla="*/ 991910 h 6858000"/>
              <a:gd name="connsiteX46" fmla="*/ 11336336 w 12073965"/>
              <a:gd name="connsiteY46" fmla="*/ 993817 h 6858000"/>
              <a:gd name="connsiteX47" fmla="*/ 11260577 w 12073965"/>
              <a:gd name="connsiteY47" fmla="*/ 1054516 h 6858000"/>
              <a:gd name="connsiteX48" fmla="*/ 11346204 w 12073965"/>
              <a:gd name="connsiteY48" fmla="*/ 1119347 h 6858000"/>
              <a:gd name="connsiteX49" fmla="*/ 11427055 w 12073965"/>
              <a:gd name="connsiteY49" fmla="*/ 1106000 h 6858000"/>
              <a:gd name="connsiteX50" fmla="*/ 11427055 w 12073965"/>
              <a:gd name="connsiteY50" fmla="*/ 982058 h 6858000"/>
              <a:gd name="connsiteX51" fmla="*/ 11340156 w 12073965"/>
              <a:gd name="connsiteY51" fmla="*/ 915320 h 6858000"/>
              <a:gd name="connsiteX52" fmla="*/ 10739040 w 12073965"/>
              <a:gd name="connsiteY52" fmla="*/ 915320 h 6858000"/>
              <a:gd name="connsiteX53" fmla="*/ 10678560 w 12073965"/>
              <a:gd name="connsiteY53" fmla="*/ 924218 h 6858000"/>
              <a:gd name="connsiteX54" fmla="*/ 10674422 w 12073965"/>
              <a:gd name="connsiteY54" fmla="*/ 968075 h 6858000"/>
              <a:gd name="connsiteX55" fmla="*/ 10733310 w 12073965"/>
              <a:gd name="connsiteY55" fmla="*/ 960765 h 6858000"/>
              <a:gd name="connsiteX56" fmla="*/ 10772462 w 12073965"/>
              <a:gd name="connsiteY56" fmla="*/ 985554 h 6858000"/>
              <a:gd name="connsiteX57" fmla="*/ 10772462 w 12073965"/>
              <a:gd name="connsiteY57" fmla="*/ 991910 h 6858000"/>
              <a:gd name="connsiteX58" fmla="*/ 10735220 w 12073965"/>
              <a:gd name="connsiteY58" fmla="*/ 993817 h 6858000"/>
              <a:gd name="connsiteX59" fmla="*/ 10659461 w 12073965"/>
              <a:gd name="connsiteY59" fmla="*/ 1054516 h 6858000"/>
              <a:gd name="connsiteX60" fmla="*/ 10745088 w 12073965"/>
              <a:gd name="connsiteY60" fmla="*/ 1119347 h 6858000"/>
              <a:gd name="connsiteX61" fmla="*/ 10825939 w 12073965"/>
              <a:gd name="connsiteY61" fmla="*/ 1106000 h 6858000"/>
              <a:gd name="connsiteX62" fmla="*/ 10825939 w 12073965"/>
              <a:gd name="connsiteY62" fmla="*/ 982058 h 6858000"/>
              <a:gd name="connsiteX63" fmla="*/ 10739040 w 12073965"/>
              <a:gd name="connsiteY63" fmla="*/ 915320 h 6858000"/>
              <a:gd name="connsiteX64" fmla="*/ 11523780 w 12073965"/>
              <a:gd name="connsiteY64" fmla="*/ 842549 h 6858000"/>
              <a:gd name="connsiteX65" fmla="*/ 11463940 w 12073965"/>
              <a:gd name="connsiteY65" fmla="*/ 864476 h 6858000"/>
              <a:gd name="connsiteX66" fmla="*/ 11490677 w 12073965"/>
              <a:gd name="connsiteY66" fmla="*/ 1017334 h 6858000"/>
              <a:gd name="connsiteX67" fmla="*/ 11463940 w 12073965"/>
              <a:gd name="connsiteY67" fmla="*/ 1170192 h 6858000"/>
              <a:gd name="connsiteX68" fmla="*/ 11523780 w 12073965"/>
              <a:gd name="connsiteY68" fmla="*/ 1192119 h 6858000"/>
              <a:gd name="connsiteX69" fmla="*/ 11554655 w 12073965"/>
              <a:gd name="connsiteY69" fmla="*/ 1017334 h 6858000"/>
              <a:gd name="connsiteX70" fmla="*/ 11523780 w 12073965"/>
              <a:gd name="connsiteY70" fmla="*/ 842549 h 6858000"/>
              <a:gd name="connsiteX71" fmla="*/ 10562736 w 12073965"/>
              <a:gd name="connsiteY71" fmla="*/ 842549 h 6858000"/>
              <a:gd name="connsiteX72" fmla="*/ 10531862 w 12073965"/>
              <a:gd name="connsiteY72" fmla="*/ 1017334 h 6858000"/>
              <a:gd name="connsiteX73" fmla="*/ 10562736 w 12073965"/>
              <a:gd name="connsiteY73" fmla="*/ 1192119 h 6858000"/>
              <a:gd name="connsiteX74" fmla="*/ 10622577 w 12073965"/>
              <a:gd name="connsiteY74" fmla="*/ 1170192 h 6858000"/>
              <a:gd name="connsiteX75" fmla="*/ 10595840 w 12073965"/>
              <a:gd name="connsiteY75" fmla="*/ 1017334 h 6858000"/>
              <a:gd name="connsiteX76" fmla="*/ 10622577 w 12073965"/>
              <a:gd name="connsiteY76" fmla="*/ 864476 h 6858000"/>
              <a:gd name="connsiteX77" fmla="*/ 10562736 w 12073965"/>
              <a:gd name="connsiteY77" fmla="*/ 842549 h 6858000"/>
              <a:gd name="connsiteX78" fmla="*/ 10915312 w 12073965"/>
              <a:gd name="connsiteY78" fmla="*/ 813307 h 6858000"/>
              <a:gd name="connsiteX79" fmla="*/ 10862159 w 12073965"/>
              <a:gd name="connsiteY79" fmla="*/ 819028 h 6858000"/>
              <a:gd name="connsiteX80" fmla="*/ 10862159 w 12073965"/>
              <a:gd name="connsiteY80" fmla="*/ 1106000 h 6858000"/>
              <a:gd name="connsiteX81" fmla="*/ 10941092 w 12073965"/>
              <a:gd name="connsiteY81" fmla="*/ 1119348 h 6858000"/>
              <a:gd name="connsiteX82" fmla="*/ 11043258 w 12073965"/>
              <a:gd name="connsiteY82" fmla="*/ 1017334 h 6858000"/>
              <a:gd name="connsiteX83" fmla="*/ 10953823 w 12073965"/>
              <a:gd name="connsiteY83" fmla="*/ 915321 h 6858000"/>
              <a:gd name="connsiteX84" fmla="*/ 10915312 w 12073965"/>
              <a:gd name="connsiteY84" fmla="*/ 920088 h 6858000"/>
              <a:gd name="connsiteX85" fmla="*/ 10915312 w 12073965"/>
              <a:gd name="connsiteY85" fmla="*/ 813307 h 6858000"/>
              <a:gd name="connsiteX86" fmla="*/ 11043258 w 12073965"/>
              <a:gd name="connsiteY86" fmla="*/ 506601 h 6858000"/>
              <a:gd name="connsiteX87" fmla="*/ 10579711 w 12073965"/>
              <a:gd name="connsiteY87" fmla="*/ 801548 h 6858000"/>
              <a:gd name="connsiteX88" fmla="*/ 10637655 w 12073965"/>
              <a:gd name="connsiteY88" fmla="*/ 828593 h 6858000"/>
              <a:gd name="connsiteX89" fmla="*/ 11043258 w 12073965"/>
              <a:gd name="connsiteY89" fmla="*/ 570554 h 6858000"/>
              <a:gd name="connsiteX90" fmla="*/ 11448862 w 12073965"/>
              <a:gd name="connsiteY90" fmla="*/ 828593 h 6858000"/>
              <a:gd name="connsiteX91" fmla="*/ 11506805 w 12073965"/>
              <a:gd name="connsiteY91" fmla="*/ 801548 h 6858000"/>
              <a:gd name="connsiteX92" fmla="*/ 11043258 w 12073965"/>
              <a:gd name="connsiteY92" fmla="*/ 506601 h 6858000"/>
              <a:gd name="connsiteX93" fmla="*/ 0 w 12073965"/>
              <a:gd name="connsiteY93" fmla="*/ 0 h 6858000"/>
              <a:gd name="connsiteX94" fmla="*/ 8083685 w 12073965"/>
              <a:gd name="connsiteY94" fmla="*/ 0 h 6858000"/>
              <a:gd name="connsiteX95" fmla="*/ 8527143 w 12073965"/>
              <a:gd name="connsiteY95" fmla="*/ 0 h 6858000"/>
              <a:gd name="connsiteX96" fmla="*/ 12073965 w 12073965"/>
              <a:gd name="connsiteY96" fmla="*/ 0 h 6858000"/>
              <a:gd name="connsiteX97" fmla="*/ 12073965 w 12073965"/>
              <a:gd name="connsiteY97" fmla="*/ 2429182 h 6858000"/>
              <a:gd name="connsiteX98" fmla="*/ 12073965 w 12073965"/>
              <a:gd name="connsiteY98" fmla="*/ 2682094 h 6858000"/>
              <a:gd name="connsiteX99" fmla="*/ 12073965 w 12073965"/>
              <a:gd name="connsiteY99" fmla="*/ 5221368 h 6858000"/>
              <a:gd name="connsiteX100" fmla="*/ 8527143 w 12073965"/>
              <a:gd name="connsiteY100" fmla="*/ 6858000 h 6858000"/>
              <a:gd name="connsiteX101" fmla="*/ 0 w 12073965"/>
              <a:gd name="connsiteY101" fmla="*/ 6858000 h 6858000"/>
              <a:gd name="connsiteX102" fmla="*/ 0 w 12073965"/>
              <a:gd name="connsiteY102" fmla="*/ 0 h 6858000"/>
              <a:gd name="connsiteX0" fmla="*/ 10637654 w 12103100"/>
              <a:gd name="connsiteY0" fmla="*/ 1206076 h 6890657"/>
              <a:gd name="connsiteX1" fmla="*/ 10579711 w 12103100"/>
              <a:gd name="connsiteY1" fmla="*/ 1233121 h 6890657"/>
              <a:gd name="connsiteX2" fmla="*/ 11043258 w 12103100"/>
              <a:gd name="connsiteY2" fmla="*/ 1528067 h 6890657"/>
              <a:gd name="connsiteX3" fmla="*/ 11506805 w 12103100"/>
              <a:gd name="connsiteY3" fmla="*/ 1233121 h 6890657"/>
              <a:gd name="connsiteX4" fmla="*/ 11448862 w 12103100"/>
              <a:gd name="connsiteY4" fmla="*/ 1206076 h 6890657"/>
              <a:gd name="connsiteX5" fmla="*/ 11043258 w 12103100"/>
              <a:gd name="connsiteY5" fmla="*/ 1464114 h 6890657"/>
              <a:gd name="connsiteX6" fmla="*/ 10637654 w 12103100"/>
              <a:gd name="connsiteY6" fmla="*/ 1206076 h 6890657"/>
              <a:gd name="connsiteX7" fmla="*/ 11373556 w 12103100"/>
              <a:gd name="connsiteY7" fmla="*/ 1029296 h 6890657"/>
              <a:gd name="connsiteX8" fmla="*/ 11373556 w 12103100"/>
              <a:gd name="connsiteY8" fmla="*/ 1072273 h 6890657"/>
              <a:gd name="connsiteX9" fmla="*/ 11347339 w 12103100"/>
              <a:gd name="connsiteY9" fmla="*/ 1074820 h 6890657"/>
              <a:gd name="connsiteX10" fmla="*/ 11314408 w 12103100"/>
              <a:gd name="connsiteY10" fmla="*/ 1051581 h 6890657"/>
              <a:gd name="connsiteX11" fmla="*/ 11343183 w 12103100"/>
              <a:gd name="connsiteY11" fmla="*/ 1031206 h 6890657"/>
              <a:gd name="connsiteX12" fmla="*/ 11373556 w 12103100"/>
              <a:gd name="connsiteY12" fmla="*/ 1029296 h 6890657"/>
              <a:gd name="connsiteX13" fmla="*/ 10772440 w 12103100"/>
              <a:gd name="connsiteY13" fmla="*/ 1029296 h 6890657"/>
              <a:gd name="connsiteX14" fmla="*/ 10772440 w 12103100"/>
              <a:gd name="connsiteY14" fmla="*/ 1072273 h 6890657"/>
              <a:gd name="connsiteX15" fmla="*/ 10746371 w 12103100"/>
              <a:gd name="connsiteY15" fmla="*/ 1074820 h 6890657"/>
              <a:gd name="connsiteX16" fmla="*/ 10713625 w 12103100"/>
              <a:gd name="connsiteY16" fmla="*/ 1051581 h 6890657"/>
              <a:gd name="connsiteX17" fmla="*/ 10742238 w 12103100"/>
              <a:gd name="connsiteY17" fmla="*/ 1031206 h 6890657"/>
              <a:gd name="connsiteX18" fmla="*/ 10772440 w 12103100"/>
              <a:gd name="connsiteY18" fmla="*/ 1029296 h 6890657"/>
              <a:gd name="connsiteX19" fmla="*/ 10945198 w 12103100"/>
              <a:gd name="connsiteY19" fmla="*/ 960845 h 6890657"/>
              <a:gd name="connsiteX20" fmla="*/ 10988098 w 12103100"/>
              <a:gd name="connsiteY20" fmla="*/ 1017334 h 6890657"/>
              <a:gd name="connsiteX21" fmla="*/ 10945198 w 12103100"/>
              <a:gd name="connsiteY21" fmla="*/ 1073824 h 6890657"/>
              <a:gd name="connsiteX22" fmla="*/ 10915326 w 12103100"/>
              <a:gd name="connsiteY22" fmla="*/ 1070015 h 6890657"/>
              <a:gd name="connsiteX23" fmla="*/ 10915326 w 12103100"/>
              <a:gd name="connsiteY23" fmla="*/ 964970 h 6890657"/>
              <a:gd name="connsiteX24" fmla="*/ 10945198 w 12103100"/>
              <a:gd name="connsiteY24" fmla="*/ 960845 h 6890657"/>
              <a:gd name="connsiteX25" fmla="*/ 11158645 w 12103100"/>
              <a:gd name="connsiteY25" fmla="*/ 915321 h 6890657"/>
              <a:gd name="connsiteX26" fmla="*/ 11069509 w 12103100"/>
              <a:gd name="connsiteY26" fmla="*/ 982058 h 6890657"/>
              <a:gd name="connsiteX27" fmla="*/ 11139226 w 12103100"/>
              <a:gd name="connsiteY27" fmla="*/ 1035766 h 6890657"/>
              <a:gd name="connsiteX28" fmla="*/ 11182202 w 12103100"/>
              <a:gd name="connsiteY28" fmla="*/ 1054198 h 6890657"/>
              <a:gd name="connsiteX29" fmla="*/ 11142091 w 12103100"/>
              <a:gd name="connsiteY29" fmla="*/ 1073902 h 6890657"/>
              <a:gd name="connsiteX30" fmla="*/ 11073966 w 12103100"/>
              <a:gd name="connsiteY30" fmla="*/ 1064051 h 6890657"/>
              <a:gd name="connsiteX31" fmla="*/ 11078104 w 12103100"/>
              <a:gd name="connsiteY31" fmla="*/ 1108225 h 6890657"/>
              <a:gd name="connsiteX32" fmla="*/ 11146230 w 12103100"/>
              <a:gd name="connsiteY32" fmla="*/ 1119347 h 6890657"/>
              <a:gd name="connsiteX33" fmla="*/ 11236320 w 12103100"/>
              <a:gd name="connsiteY33" fmla="*/ 1054516 h 6890657"/>
              <a:gd name="connsiteX34" fmla="*/ 11160555 w 12103100"/>
              <a:gd name="connsiteY34" fmla="*/ 993817 h 6890657"/>
              <a:gd name="connsiteX35" fmla="*/ 11123309 w 12103100"/>
              <a:gd name="connsiteY35" fmla="*/ 980469 h 6890657"/>
              <a:gd name="connsiteX36" fmla="*/ 11162465 w 12103100"/>
              <a:gd name="connsiteY36" fmla="*/ 960765 h 6890657"/>
              <a:gd name="connsiteX37" fmla="*/ 11221358 w 12103100"/>
              <a:gd name="connsiteY37" fmla="*/ 968076 h 6890657"/>
              <a:gd name="connsiteX38" fmla="*/ 11217220 w 12103100"/>
              <a:gd name="connsiteY38" fmla="*/ 924219 h 6890657"/>
              <a:gd name="connsiteX39" fmla="*/ 11158645 w 12103100"/>
              <a:gd name="connsiteY39" fmla="*/ 915321 h 6890657"/>
              <a:gd name="connsiteX40" fmla="*/ 11340156 w 12103100"/>
              <a:gd name="connsiteY40" fmla="*/ 915320 h 6890657"/>
              <a:gd name="connsiteX41" fmla="*/ 11279676 w 12103100"/>
              <a:gd name="connsiteY41" fmla="*/ 924218 h 6890657"/>
              <a:gd name="connsiteX42" fmla="*/ 11275538 w 12103100"/>
              <a:gd name="connsiteY42" fmla="*/ 968075 h 6890657"/>
              <a:gd name="connsiteX43" fmla="*/ 11334426 w 12103100"/>
              <a:gd name="connsiteY43" fmla="*/ 960765 h 6890657"/>
              <a:gd name="connsiteX44" fmla="*/ 11373578 w 12103100"/>
              <a:gd name="connsiteY44" fmla="*/ 985554 h 6890657"/>
              <a:gd name="connsiteX45" fmla="*/ 11373578 w 12103100"/>
              <a:gd name="connsiteY45" fmla="*/ 991910 h 6890657"/>
              <a:gd name="connsiteX46" fmla="*/ 11336336 w 12103100"/>
              <a:gd name="connsiteY46" fmla="*/ 993817 h 6890657"/>
              <a:gd name="connsiteX47" fmla="*/ 11260577 w 12103100"/>
              <a:gd name="connsiteY47" fmla="*/ 1054516 h 6890657"/>
              <a:gd name="connsiteX48" fmla="*/ 11346204 w 12103100"/>
              <a:gd name="connsiteY48" fmla="*/ 1119347 h 6890657"/>
              <a:gd name="connsiteX49" fmla="*/ 11427055 w 12103100"/>
              <a:gd name="connsiteY49" fmla="*/ 1106000 h 6890657"/>
              <a:gd name="connsiteX50" fmla="*/ 11427055 w 12103100"/>
              <a:gd name="connsiteY50" fmla="*/ 982058 h 6890657"/>
              <a:gd name="connsiteX51" fmla="*/ 11340156 w 12103100"/>
              <a:gd name="connsiteY51" fmla="*/ 915320 h 6890657"/>
              <a:gd name="connsiteX52" fmla="*/ 10739040 w 12103100"/>
              <a:gd name="connsiteY52" fmla="*/ 915320 h 6890657"/>
              <a:gd name="connsiteX53" fmla="*/ 10678560 w 12103100"/>
              <a:gd name="connsiteY53" fmla="*/ 924218 h 6890657"/>
              <a:gd name="connsiteX54" fmla="*/ 10674422 w 12103100"/>
              <a:gd name="connsiteY54" fmla="*/ 968075 h 6890657"/>
              <a:gd name="connsiteX55" fmla="*/ 10733310 w 12103100"/>
              <a:gd name="connsiteY55" fmla="*/ 960765 h 6890657"/>
              <a:gd name="connsiteX56" fmla="*/ 10772462 w 12103100"/>
              <a:gd name="connsiteY56" fmla="*/ 985554 h 6890657"/>
              <a:gd name="connsiteX57" fmla="*/ 10772462 w 12103100"/>
              <a:gd name="connsiteY57" fmla="*/ 991910 h 6890657"/>
              <a:gd name="connsiteX58" fmla="*/ 10735220 w 12103100"/>
              <a:gd name="connsiteY58" fmla="*/ 993817 h 6890657"/>
              <a:gd name="connsiteX59" fmla="*/ 10659461 w 12103100"/>
              <a:gd name="connsiteY59" fmla="*/ 1054516 h 6890657"/>
              <a:gd name="connsiteX60" fmla="*/ 10745088 w 12103100"/>
              <a:gd name="connsiteY60" fmla="*/ 1119347 h 6890657"/>
              <a:gd name="connsiteX61" fmla="*/ 10825939 w 12103100"/>
              <a:gd name="connsiteY61" fmla="*/ 1106000 h 6890657"/>
              <a:gd name="connsiteX62" fmla="*/ 10825939 w 12103100"/>
              <a:gd name="connsiteY62" fmla="*/ 982058 h 6890657"/>
              <a:gd name="connsiteX63" fmla="*/ 10739040 w 12103100"/>
              <a:gd name="connsiteY63" fmla="*/ 915320 h 6890657"/>
              <a:gd name="connsiteX64" fmla="*/ 11523780 w 12103100"/>
              <a:gd name="connsiteY64" fmla="*/ 842549 h 6890657"/>
              <a:gd name="connsiteX65" fmla="*/ 11463940 w 12103100"/>
              <a:gd name="connsiteY65" fmla="*/ 864476 h 6890657"/>
              <a:gd name="connsiteX66" fmla="*/ 11490677 w 12103100"/>
              <a:gd name="connsiteY66" fmla="*/ 1017334 h 6890657"/>
              <a:gd name="connsiteX67" fmla="*/ 11463940 w 12103100"/>
              <a:gd name="connsiteY67" fmla="*/ 1170192 h 6890657"/>
              <a:gd name="connsiteX68" fmla="*/ 11523780 w 12103100"/>
              <a:gd name="connsiteY68" fmla="*/ 1192119 h 6890657"/>
              <a:gd name="connsiteX69" fmla="*/ 11554655 w 12103100"/>
              <a:gd name="connsiteY69" fmla="*/ 1017334 h 6890657"/>
              <a:gd name="connsiteX70" fmla="*/ 11523780 w 12103100"/>
              <a:gd name="connsiteY70" fmla="*/ 842549 h 6890657"/>
              <a:gd name="connsiteX71" fmla="*/ 10562736 w 12103100"/>
              <a:gd name="connsiteY71" fmla="*/ 842549 h 6890657"/>
              <a:gd name="connsiteX72" fmla="*/ 10531862 w 12103100"/>
              <a:gd name="connsiteY72" fmla="*/ 1017334 h 6890657"/>
              <a:gd name="connsiteX73" fmla="*/ 10562736 w 12103100"/>
              <a:gd name="connsiteY73" fmla="*/ 1192119 h 6890657"/>
              <a:gd name="connsiteX74" fmla="*/ 10622577 w 12103100"/>
              <a:gd name="connsiteY74" fmla="*/ 1170192 h 6890657"/>
              <a:gd name="connsiteX75" fmla="*/ 10595840 w 12103100"/>
              <a:gd name="connsiteY75" fmla="*/ 1017334 h 6890657"/>
              <a:gd name="connsiteX76" fmla="*/ 10622577 w 12103100"/>
              <a:gd name="connsiteY76" fmla="*/ 864476 h 6890657"/>
              <a:gd name="connsiteX77" fmla="*/ 10562736 w 12103100"/>
              <a:gd name="connsiteY77" fmla="*/ 842549 h 6890657"/>
              <a:gd name="connsiteX78" fmla="*/ 10915312 w 12103100"/>
              <a:gd name="connsiteY78" fmla="*/ 813307 h 6890657"/>
              <a:gd name="connsiteX79" fmla="*/ 10862159 w 12103100"/>
              <a:gd name="connsiteY79" fmla="*/ 819028 h 6890657"/>
              <a:gd name="connsiteX80" fmla="*/ 10862159 w 12103100"/>
              <a:gd name="connsiteY80" fmla="*/ 1106000 h 6890657"/>
              <a:gd name="connsiteX81" fmla="*/ 10941092 w 12103100"/>
              <a:gd name="connsiteY81" fmla="*/ 1119348 h 6890657"/>
              <a:gd name="connsiteX82" fmla="*/ 11043258 w 12103100"/>
              <a:gd name="connsiteY82" fmla="*/ 1017334 h 6890657"/>
              <a:gd name="connsiteX83" fmla="*/ 10953823 w 12103100"/>
              <a:gd name="connsiteY83" fmla="*/ 915321 h 6890657"/>
              <a:gd name="connsiteX84" fmla="*/ 10915312 w 12103100"/>
              <a:gd name="connsiteY84" fmla="*/ 920088 h 6890657"/>
              <a:gd name="connsiteX85" fmla="*/ 10915312 w 12103100"/>
              <a:gd name="connsiteY85" fmla="*/ 813307 h 6890657"/>
              <a:gd name="connsiteX86" fmla="*/ 11043258 w 12103100"/>
              <a:gd name="connsiteY86" fmla="*/ 506601 h 6890657"/>
              <a:gd name="connsiteX87" fmla="*/ 10579711 w 12103100"/>
              <a:gd name="connsiteY87" fmla="*/ 801548 h 6890657"/>
              <a:gd name="connsiteX88" fmla="*/ 10637655 w 12103100"/>
              <a:gd name="connsiteY88" fmla="*/ 828593 h 6890657"/>
              <a:gd name="connsiteX89" fmla="*/ 11043258 w 12103100"/>
              <a:gd name="connsiteY89" fmla="*/ 570554 h 6890657"/>
              <a:gd name="connsiteX90" fmla="*/ 11448862 w 12103100"/>
              <a:gd name="connsiteY90" fmla="*/ 828593 h 6890657"/>
              <a:gd name="connsiteX91" fmla="*/ 11506805 w 12103100"/>
              <a:gd name="connsiteY91" fmla="*/ 801548 h 6890657"/>
              <a:gd name="connsiteX92" fmla="*/ 11043258 w 12103100"/>
              <a:gd name="connsiteY92" fmla="*/ 506601 h 6890657"/>
              <a:gd name="connsiteX93" fmla="*/ 0 w 12103100"/>
              <a:gd name="connsiteY93" fmla="*/ 0 h 6890657"/>
              <a:gd name="connsiteX94" fmla="*/ 8083685 w 12103100"/>
              <a:gd name="connsiteY94" fmla="*/ 0 h 6890657"/>
              <a:gd name="connsiteX95" fmla="*/ 8527143 w 12103100"/>
              <a:gd name="connsiteY95" fmla="*/ 0 h 6890657"/>
              <a:gd name="connsiteX96" fmla="*/ 12073965 w 12103100"/>
              <a:gd name="connsiteY96" fmla="*/ 0 h 6890657"/>
              <a:gd name="connsiteX97" fmla="*/ 12073965 w 12103100"/>
              <a:gd name="connsiteY97" fmla="*/ 2429182 h 6890657"/>
              <a:gd name="connsiteX98" fmla="*/ 12073965 w 12103100"/>
              <a:gd name="connsiteY98" fmla="*/ 2682094 h 6890657"/>
              <a:gd name="connsiteX99" fmla="*/ 12073965 w 12103100"/>
              <a:gd name="connsiteY99" fmla="*/ 5221368 h 6890657"/>
              <a:gd name="connsiteX100" fmla="*/ 12103100 w 12103100"/>
              <a:gd name="connsiteY100" fmla="*/ 6890657 h 6890657"/>
              <a:gd name="connsiteX101" fmla="*/ 0 w 12103100"/>
              <a:gd name="connsiteY101" fmla="*/ 6858000 h 6890657"/>
              <a:gd name="connsiteX102" fmla="*/ 0 w 12103100"/>
              <a:gd name="connsiteY102" fmla="*/ 0 h 6890657"/>
              <a:gd name="connsiteX0" fmla="*/ 10637654 w 12103100"/>
              <a:gd name="connsiteY0" fmla="*/ 1206076 h 6890657"/>
              <a:gd name="connsiteX1" fmla="*/ 10579711 w 12103100"/>
              <a:gd name="connsiteY1" fmla="*/ 1233121 h 6890657"/>
              <a:gd name="connsiteX2" fmla="*/ 11043258 w 12103100"/>
              <a:gd name="connsiteY2" fmla="*/ 1528067 h 6890657"/>
              <a:gd name="connsiteX3" fmla="*/ 11506805 w 12103100"/>
              <a:gd name="connsiteY3" fmla="*/ 1233121 h 6890657"/>
              <a:gd name="connsiteX4" fmla="*/ 11448862 w 12103100"/>
              <a:gd name="connsiteY4" fmla="*/ 1206076 h 6890657"/>
              <a:gd name="connsiteX5" fmla="*/ 11043258 w 12103100"/>
              <a:gd name="connsiteY5" fmla="*/ 1464114 h 6890657"/>
              <a:gd name="connsiteX6" fmla="*/ 10637654 w 12103100"/>
              <a:gd name="connsiteY6" fmla="*/ 1206076 h 6890657"/>
              <a:gd name="connsiteX7" fmla="*/ 11373556 w 12103100"/>
              <a:gd name="connsiteY7" fmla="*/ 1029296 h 6890657"/>
              <a:gd name="connsiteX8" fmla="*/ 11373556 w 12103100"/>
              <a:gd name="connsiteY8" fmla="*/ 1072273 h 6890657"/>
              <a:gd name="connsiteX9" fmla="*/ 11347339 w 12103100"/>
              <a:gd name="connsiteY9" fmla="*/ 1074820 h 6890657"/>
              <a:gd name="connsiteX10" fmla="*/ 11314408 w 12103100"/>
              <a:gd name="connsiteY10" fmla="*/ 1051581 h 6890657"/>
              <a:gd name="connsiteX11" fmla="*/ 11343183 w 12103100"/>
              <a:gd name="connsiteY11" fmla="*/ 1031206 h 6890657"/>
              <a:gd name="connsiteX12" fmla="*/ 11373556 w 12103100"/>
              <a:gd name="connsiteY12" fmla="*/ 1029296 h 6890657"/>
              <a:gd name="connsiteX13" fmla="*/ 10772440 w 12103100"/>
              <a:gd name="connsiteY13" fmla="*/ 1029296 h 6890657"/>
              <a:gd name="connsiteX14" fmla="*/ 10772440 w 12103100"/>
              <a:gd name="connsiteY14" fmla="*/ 1072273 h 6890657"/>
              <a:gd name="connsiteX15" fmla="*/ 10746371 w 12103100"/>
              <a:gd name="connsiteY15" fmla="*/ 1074820 h 6890657"/>
              <a:gd name="connsiteX16" fmla="*/ 10713625 w 12103100"/>
              <a:gd name="connsiteY16" fmla="*/ 1051581 h 6890657"/>
              <a:gd name="connsiteX17" fmla="*/ 10742238 w 12103100"/>
              <a:gd name="connsiteY17" fmla="*/ 1031206 h 6890657"/>
              <a:gd name="connsiteX18" fmla="*/ 10772440 w 12103100"/>
              <a:gd name="connsiteY18" fmla="*/ 1029296 h 6890657"/>
              <a:gd name="connsiteX19" fmla="*/ 10945198 w 12103100"/>
              <a:gd name="connsiteY19" fmla="*/ 960845 h 6890657"/>
              <a:gd name="connsiteX20" fmla="*/ 10988098 w 12103100"/>
              <a:gd name="connsiteY20" fmla="*/ 1017334 h 6890657"/>
              <a:gd name="connsiteX21" fmla="*/ 10945198 w 12103100"/>
              <a:gd name="connsiteY21" fmla="*/ 1073824 h 6890657"/>
              <a:gd name="connsiteX22" fmla="*/ 10915326 w 12103100"/>
              <a:gd name="connsiteY22" fmla="*/ 1070015 h 6890657"/>
              <a:gd name="connsiteX23" fmla="*/ 10915326 w 12103100"/>
              <a:gd name="connsiteY23" fmla="*/ 964970 h 6890657"/>
              <a:gd name="connsiteX24" fmla="*/ 10945198 w 12103100"/>
              <a:gd name="connsiteY24" fmla="*/ 960845 h 6890657"/>
              <a:gd name="connsiteX25" fmla="*/ 11158645 w 12103100"/>
              <a:gd name="connsiteY25" fmla="*/ 915321 h 6890657"/>
              <a:gd name="connsiteX26" fmla="*/ 11069509 w 12103100"/>
              <a:gd name="connsiteY26" fmla="*/ 982058 h 6890657"/>
              <a:gd name="connsiteX27" fmla="*/ 11139226 w 12103100"/>
              <a:gd name="connsiteY27" fmla="*/ 1035766 h 6890657"/>
              <a:gd name="connsiteX28" fmla="*/ 11182202 w 12103100"/>
              <a:gd name="connsiteY28" fmla="*/ 1054198 h 6890657"/>
              <a:gd name="connsiteX29" fmla="*/ 11142091 w 12103100"/>
              <a:gd name="connsiteY29" fmla="*/ 1073902 h 6890657"/>
              <a:gd name="connsiteX30" fmla="*/ 11073966 w 12103100"/>
              <a:gd name="connsiteY30" fmla="*/ 1064051 h 6890657"/>
              <a:gd name="connsiteX31" fmla="*/ 11078104 w 12103100"/>
              <a:gd name="connsiteY31" fmla="*/ 1108225 h 6890657"/>
              <a:gd name="connsiteX32" fmla="*/ 11146230 w 12103100"/>
              <a:gd name="connsiteY32" fmla="*/ 1119347 h 6890657"/>
              <a:gd name="connsiteX33" fmla="*/ 11236320 w 12103100"/>
              <a:gd name="connsiteY33" fmla="*/ 1054516 h 6890657"/>
              <a:gd name="connsiteX34" fmla="*/ 11160555 w 12103100"/>
              <a:gd name="connsiteY34" fmla="*/ 993817 h 6890657"/>
              <a:gd name="connsiteX35" fmla="*/ 11123309 w 12103100"/>
              <a:gd name="connsiteY35" fmla="*/ 980469 h 6890657"/>
              <a:gd name="connsiteX36" fmla="*/ 11162465 w 12103100"/>
              <a:gd name="connsiteY36" fmla="*/ 960765 h 6890657"/>
              <a:gd name="connsiteX37" fmla="*/ 11221358 w 12103100"/>
              <a:gd name="connsiteY37" fmla="*/ 968076 h 6890657"/>
              <a:gd name="connsiteX38" fmla="*/ 11217220 w 12103100"/>
              <a:gd name="connsiteY38" fmla="*/ 924219 h 6890657"/>
              <a:gd name="connsiteX39" fmla="*/ 11158645 w 12103100"/>
              <a:gd name="connsiteY39" fmla="*/ 915321 h 6890657"/>
              <a:gd name="connsiteX40" fmla="*/ 11340156 w 12103100"/>
              <a:gd name="connsiteY40" fmla="*/ 915320 h 6890657"/>
              <a:gd name="connsiteX41" fmla="*/ 11279676 w 12103100"/>
              <a:gd name="connsiteY41" fmla="*/ 924218 h 6890657"/>
              <a:gd name="connsiteX42" fmla="*/ 11275538 w 12103100"/>
              <a:gd name="connsiteY42" fmla="*/ 968075 h 6890657"/>
              <a:gd name="connsiteX43" fmla="*/ 11334426 w 12103100"/>
              <a:gd name="connsiteY43" fmla="*/ 960765 h 6890657"/>
              <a:gd name="connsiteX44" fmla="*/ 11373578 w 12103100"/>
              <a:gd name="connsiteY44" fmla="*/ 985554 h 6890657"/>
              <a:gd name="connsiteX45" fmla="*/ 11373578 w 12103100"/>
              <a:gd name="connsiteY45" fmla="*/ 991910 h 6890657"/>
              <a:gd name="connsiteX46" fmla="*/ 11336336 w 12103100"/>
              <a:gd name="connsiteY46" fmla="*/ 993817 h 6890657"/>
              <a:gd name="connsiteX47" fmla="*/ 11260577 w 12103100"/>
              <a:gd name="connsiteY47" fmla="*/ 1054516 h 6890657"/>
              <a:gd name="connsiteX48" fmla="*/ 11346204 w 12103100"/>
              <a:gd name="connsiteY48" fmla="*/ 1119347 h 6890657"/>
              <a:gd name="connsiteX49" fmla="*/ 11427055 w 12103100"/>
              <a:gd name="connsiteY49" fmla="*/ 1106000 h 6890657"/>
              <a:gd name="connsiteX50" fmla="*/ 11427055 w 12103100"/>
              <a:gd name="connsiteY50" fmla="*/ 982058 h 6890657"/>
              <a:gd name="connsiteX51" fmla="*/ 11340156 w 12103100"/>
              <a:gd name="connsiteY51" fmla="*/ 915320 h 6890657"/>
              <a:gd name="connsiteX52" fmla="*/ 10739040 w 12103100"/>
              <a:gd name="connsiteY52" fmla="*/ 915320 h 6890657"/>
              <a:gd name="connsiteX53" fmla="*/ 10678560 w 12103100"/>
              <a:gd name="connsiteY53" fmla="*/ 924218 h 6890657"/>
              <a:gd name="connsiteX54" fmla="*/ 10674422 w 12103100"/>
              <a:gd name="connsiteY54" fmla="*/ 968075 h 6890657"/>
              <a:gd name="connsiteX55" fmla="*/ 10733310 w 12103100"/>
              <a:gd name="connsiteY55" fmla="*/ 960765 h 6890657"/>
              <a:gd name="connsiteX56" fmla="*/ 10772462 w 12103100"/>
              <a:gd name="connsiteY56" fmla="*/ 985554 h 6890657"/>
              <a:gd name="connsiteX57" fmla="*/ 10772462 w 12103100"/>
              <a:gd name="connsiteY57" fmla="*/ 991910 h 6890657"/>
              <a:gd name="connsiteX58" fmla="*/ 10735220 w 12103100"/>
              <a:gd name="connsiteY58" fmla="*/ 993817 h 6890657"/>
              <a:gd name="connsiteX59" fmla="*/ 10659461 w 12103100"/>
              <a:gd name="connsiteY59" fmla="*/ 1054516 h 6890657"/>
              <a:gd name="connsiteX60" fmla="*/ 10745088 w 12103100"/>
              <a:gd name="connsiteY60" fmla="*/ 1119347 h 6890657"/>
              <a:gd name="connsiteX61" fmla="*/ 10825939 w 12103100"/>
              <a:gd name="connsiteY61" fmla="*/ 1106000 h 6890657"/>
              <a:gd name="connsiteX62" fmla="*/ 10825939 w 12103100"/>
              <a:gd name="connsiteY62" fmla="*/ 982058 h 6890657"/>
              <a:gd name="connsiteX63" fmla="*/ 10739040 w 12103100"/>
              <a:gd name="connsiteY63" fmla="*/ 915320 h 6890657"/>
              <a:gd name="connsiteX64" fmla="*/ 11523780 w 12103100"/>
              <a:gd name="connsiteY64" fmla="*/ 842549 h 6890657"/>
              <a:gd name="connsiteX65" fmla="*/ 11463940 w 12103100"/>
              <a:gd name="connsiteY65" fmla="*/ 864476 h 6890657"/>
              <a:gd name="connsiteX66" fmla="*/ 11490677 w 12103100"/>
              <a:gd name="connsiteY66" fmla="*/ 1017334 h 6890657"/>
              <a:gd name="connsiteX67" fmla="*/ 11463940 w 12103100"/>
              <a:gd name="connsiteY67" fmla="*/ 1170192 h 6890657"/>
              <a:gd name="connsiteX68" fmla="*/ 11523780 w 12103100"/>
              <a:gd name="connsiteY68" fmla="*/ 1192119 h 6890657"/>
              <a:gd name="connsiteX69" fmla="*/ 11554655 w 12103100"/>
              <a:gd name="connsiteY69" fmla="*/ 1017334 h 6890657"/>
              <a:gd name="connsiteX70" fmla="*/ 11523780 w 12103100"/>
              <a:gd name="connsiteY70" fmla="*/ 842549 h 6890657"/>
              <a:gd name="connsiteX71" fmla="*/ 10562736 w 12103100"/>
              <a:gd name="connsiteY71" fmla="*/ 842549 h 6890657"/>
              <a:gd name="connsiteX72" fmla="*/ 10531862 w 12103100"/>
              <a:gd name="connsiteY72" fmla="*/ 1017334 h 6890657"/>
              <a:gd name="connsiteX73" fmla="*/ 10562736 w 12103100"/>
              <a:gd name="connsiteY73" fmla="*/ 1192119 h 6890657"/>
              <a:gd name="connsiteX74" fmla="*/ 10622577 w 12103100"/>
              <a:gd name="connsiteY74" fmla="*/ 1170192 h 6890657"/>
              <a:gd name="connsiteX75" fmla="*/ 10595840 w 12103100"/>
              <a:gd name="connsiteY75" fmla="*/ 1017334 h 6890657"/>
              <a:gd name="connsiteX76" fmla="*/ 10622577 w 12103100"/>
              <a:gd name="connsiteY76" fmla="*/ 864476 h 6890657"/>
              <a:gd name="connsiteX77" fmla="*/ 10562736 w 12103100"/>
              <a:gd name="connsiteY77" fmla="*/ 842549 h 6890657"/>
              <a:gd name="connsiteX78" fmla="*/ 10915312 w 12103100"/>
              <a:gd name="connsiteY78" fmla="*/ 813307 h 6890657"/>
              <a:gd name="connsiteX79" fmla="*/ 10862159 w 12103100"/>
              <a:gd name="connsiteY79" fmla="*/ 819028 h 6890657"/>
              <a:gd name="connsiteX80" fmla="*/ 10862159 w 12103100"/>
              <a:gd name="connsiteY80" fmla="*/ 1106000 h 6890657"/>
              <a:gd name="connsiteX81" fmla="*/ 10941092 w 12103100"/>
              <a:gd name="connsiteY81" fmla="*/ 1119348 h 6890657"/>
              <a:gd name="connsiteX82" fmla="*/ 11043258 w 12103100"/>
              <a:gd name="connsiteY82" fmla="*/ 1017334 h 6890657"/>
              <a:gd name="connsiteX83" fmla="*/ 10953823 w 12103100"/>
              <a:gd name="connsiteY83" fmla="*/ 915321 h 6890657"/>
              <a:gd name="connsiteX84" fmla="*/ 10915312 w 12103100"/>
              <a:gd name="connsiteY84" fmla="*/ 920088 h 6890657"/>
              <a:gd name="connsiteX85" fmla="*/ 10915312 w 12103100"/>
              <a:gd name="connsiteY85" fmla="*/ 813307 h 6890657"/>
              <a:gd name="connsiteX86" fmla="*/ 11043258 w 12103100"/>
              <a:gd name="connsiteY86" fmla="*/ 506601 h 6890657"/>
              <a:gd name="connsiteX87" fmla="*/ 10579711 w 12103100"/>
              <a:gd name="connsiteY87" fmla="*/ 801548 h 6890657"/>
              <a:gd name="connsiteX88" fmla="*/ 10637655 w 12103100"/>
              <a:gd name="connsiteY88" fmla="*/ 828593 h 6890657"/>
              <a:gd name="connsiteX89" fmla="*/ 11043258 w 12103100"/>
              <a:gd name="connsiteY89" fmla="*/ 570554 h 6890657"/>
              <a:gd name="connsiteX90" fmla="*/ 11448862 w 12103100"/>
              <a:gd name="connsiteY90" fmla="*/ 828593 h 6890657"/>
              <a:gd name="connsiteX91" fmla="*/ 11506805 w 12103100"/>
              <a:gd name="connsiteY91" fmla="*/ 801548 h 6890657"/>
              <a:gd name="connsiteX92" fmla="*/ 11043258 w 12103100"/>
              <a:gd name="connsiteY92" fmla="*/ 506601 h 6890657"/>
              <a:gd name="connsiteX93" fmla="*/ 0 w 12103100"/>
              <a:gd name="connsiteY93" fmla="*/ 0 h 6890657"/>
              <a:gd name="connsiteX94" fmla="*/ 8083685 w 12103100"/>
              <a:gd name="connsiteY94" fmla="*/ 0 h 6890657"/>
              <a:gd name="connsiteX95" fmla="*/ 8527143 w 12103100"/>
              <a:gd name="connsiteY95" fmla="*/ 0 h 6890657"/>
              <a:gd name="connsiteX96" fmla="*/ 12073965 w 12103100"/>
              <a:gd name="connsiteY96" fmla="*/ 0 h 6890657"/>
              <a:gd name="connsiteX97" fmla="*/ 12073965 w 12103100"/>
              <a:gd name="connsiteY97" fmla="*/ 2429182 h 6890657"/>
              <a:gd name="connsiteX98" fmla="*/ 12073965 w 12103100"/>
              <a:gd name="connsiteY98" fmla="*/ 2682094 h 6890657"/>
              <a:gd name="connsiteX99" fmla="*/ 12103100 w 12103100"/>
              <a:gd name="connsiteY99" fmla="*/ 6890657 h 6890657"/>
              <a:gd name="connsiteX100" fmla="*/ 0 w 12103100"/>
              <a:gd name="connsiteY100" fmla="*/ 6858000 h 6890657"/>
              <a:gd name="connsiteX101" fmla="*/ 0 w 12103100"/>
              <a:gd name="connsiteY101" fmla="*/ 0 h 6890657"/>
              <a:gd name="connsiteX0" fmla="*/ 10637654 w 12103100"/>
              <a:gd name="connsiteY0" fmla="*/ 1206076 h 6890657"/>
              <a:gd name="connsiteX1" fmla="*/ 10579711 w 12103100"/>
              <a:gd name="connsiteY1" fmla="*/ 1233121 h 6890657"/>
              <a:gd name="connsiteX2" fmla="*/ 11043258 w 12103100"/>
              <a:gd name="connsiteY2" fmla="*/ 1528067 h 6890657"/>
              <a:gd name="connsiteX3" fmla="*/ 11506805 w 12103100"/>
              <a:gd name="connsiteY3" fmla="*/ 1233121 h 6890657"/>
              <a:gd name="connsiteX4" fmla="*/ 11448862 w 12103100"/>
              <a:gd name="connsiteY4" fmla="*/ 1206076 h 6890657"/>
              <a:gd name="connsiteX5" fmla="*/ 11043258 w 12103100"/>
              <a:gd name="connsiteY5" fmla="*/ 1464114 h 6890657"/>
              <a:gd name="connsiteX6" fmla="*/ 10637654 w 12103100"/>
              <a:gd name="connsiteY6" fmla="*/ 1206076 h 6890657"/>
              <a:gd name="connsiteX7" fmla="*/ 11373556 w 12103100"/>
              <a:gd name="connsiteY7" fmla="*/ 1029296 h 6890657"/>
              <a:gd name="connsiteX8" fmla="*/ 11373556 w 12103100"/>
              <a:gd name="connsiteY8" fmla="*/ 1072273 h 6890657"/>
              <a:gd name="connsiteX9" fmla="*/ 11347339 w 12103100"/>
              <a:gd name="connsiteY9" fmla="*/ 1074820 h 6890657"/>
              <a:gd name="connsiteX10" fmla="*/ 11314408 w 12103100"/>
              <a:gd name="connsiteY10" fmla="*/ 1051581 h 6890657"/>
              <a:gd name="connsiteX11" fmla="*/ 11343183 w 12103100"/>
              <a:gd name="connsiteY11" fmla="*/ 1031206 h 6890657"/>
              <a:gd name="connsiteX12" fmla="*/ 11373556 w 12103100"/>
              <a:gd name="connsiteY12" fmla="*/ 1029296 h 6890657"/>
              <a:gd name="connsiteX13" fmla="*/ 10772440 w 12103100"/>
              <a:gd name="connsiteY13" fmla="*/ 1029296 h 6890657"/>
              <a:gd name="connsiteX14" fmla="*/ 10772440 w 12103100"/>
              <a:gd name="connsiteY14" fmla="*/ 1072273 h 6890657"/>
              <a:gd name="connsiteX15" fmla="*/ 10746371 w 12103100"/>
              <a:gd name="connsiteY15" fmla="*/ 1074820 h 6890657"/>
              <a:gd name="connsiteX16" fmla="*/ 10713625 w 12103100"/>
              <a:gd name="connsiteY16" fmla="*/ 1051581 h 6890657"/>
              <a:gd name="connsiteX17" fmla="*/ 10742238 w 12103100"/>
              <a:gd name="connsiteY17" fmla="*/ 1031206 h 6890657"/>
              <a:gd name="connsiteX18" fmla="*/ 10772440 w 12103100"/>
              <a:gd name="connsiteY18" fmla="*/ 1029296 h 6890657"/>
              <a:gd name="connsiteX19" fmla="*/ 10945198 w 12103100"/>
              <a:gd name="connsiteY19" fmla="*/ 960845 h 6890657"/>
              <a:gd name="connsiteX20" fmla="*/ 10988098 w 12103100"/>
              <a:gd name="connsiteY20" fmla="*/ 1017334 h 6890657"/>
              <a:gd name="connsiteX21" fmla="*/ 10945198 w 12103100"/>
              <a:gd name="connsiteY21" fmla="*/ 1073824 h 6890657"/>
              <a:gd name="connsiteX22" fmla="*/ 10915326 w 12103100"/>
              <a:gd name="connsiteY22" fmla="*/ 1070015 h 6890657"/>
              <a:gd name="connsiteX23" fmla="*/ 10915326 w 12103100"/>
              <a:gd name="connsiteY23" fmla="*/ 964970 h 6890657"/>
              <a:gd name="connsiteX24" fmla="*/ 10945198 w 12103100"/>
              <a:gd name="connsiteY24" fmla="*/ 960845 h 6890657"/>
              <a:gd name="connsiteX25" fmla="*/ 11158645 w 12103100"/>
              <a:gd name="connsiteY25" fmla="*/ 915321 h 6890657"/>
              <a:gd name="connsiteX26" fmla="*/ 11069509 w 12103100"/>
              <a:gd name="connsiteY26" fmla="*/ 982058 h 6890657"/>
              <a:gd name="connsiteX27" fmla="*/ 11139226 w 12103100"/>
              <a:gd name="connsiteY27" fmla="*/ 1035766 h 6890657"/>
              <a:gd name="connsiteX28" fmla="*/ 11182202 w 12103100"/>
              <a:gd name="connsiteY28" fmla="*/ 1054198 h 6890657"/>
              <a:gd name="connsiteX29" fmla="*/ 11142091 w 12103100"/>
              <a:gd name="connsiteY29" fmla="*/ 1073902 h 6890657"/>
              <a:gd name="connsiteX30" fmla="*/ 11073966 w 12103100"/>
              <a:gd name="connsiteY30" fmla="*/ 1064051 h 6890657"/>
              <a:gd name="connsiteX31" fmla="*/ 11078104 w 12103100"/>
              <a:gd name="connsiteY31" fmla="*/ 1108225 h 6890657"/>
              <a:gd name="connsiteX32" fmla="*/ 11146230 w 12103100"/>
              <a:gd name="connsiteY32" fmla="*/ 1119347 h 6890657"/>
              <a:gd name="connsiteX33" fmla="*/ 11236320 w 12103100"/>
              <a:gd name="connsiteY33" fmla="*/ 1054516 h 6890657"/>
              <a:gd name="connsiteX34" fmla="*/ 11160555 w 12103100"/>
              <a:gd name="connsiteY34" fmla="*/ 993817 h 6890657"/>
              <a:gd name="connsiteX35" fmla="*/ 11123309 w 12103100"/>
              <a:gd name="connsiteY35" fmla="*/ 980469 h 6890657"/>
              <a:gd name="connsiteX36" fmla="*/ 11162465 w 12103100"/>
              <a:gd name="connsiteY36" fmla="*/ 960765 h 6890657"/>
              <a:gd name="connsiteX37" fmla="*/ 11221358 w 12103100"/>
              <a:gd name="connsiteY37" fmla="*/ 968076 h 6890657"/>
              <a:gd name="connsiteX38" fmla="*/ 11217220 w 12103100"/>
              <a:gd name="connsiteY38" fmla="*/ 924219 h 6890657"/>
              <a:gd name="connsiteX39" fmla="*/ 11158645 w 12103100"/>
              <a:gd name="connsiteY39" fmla="*/ 915321 h 6890657"/>
              <a:gd name="connsiteX40" fmla="*/ 11340156 w 12103100"/>
              <a:gd name="connsiteY40" fmla="*/ 915320 h 6890657"/>
              <a:gd name="connsiteX41" fmla="*/ 11279676 w 12103100"/>
              <a:gd name="connsiteY41" fmla="*/ 924218 h 6890657"/>
              <a:gd name="connsiteX42" fmla="*/ 11275538 w 12103100"/>
              <a:gd name="connsiteY42" fmla="*/ 968075 h 6890657"/>
              <a:gd name="connsiteX43" fmla="*/ 11334426 w 12103100"/>
              <a:gd name="connsiteY43" fmla="*/ 960765 h 6890657"/>
              <a:gd name="connsiteX44" fmla="*/ 11373578 w 12103100"/>
              <a:gd name="connsiteY44" fmla="*/ 985554 h 6890657"/>
              <a:gd name="connsiteX45" fmla="*/ 11373578 w 12103100"/>
              <a:gd name="connsiteY45" fmla="*/ 991910 h 6890657"/>
              <a:gd name="connsiteX46" fmla="*/ 11336336 w 12103100"/>
              <a:gd name="connsiteY46" fmla="*/ 993817 h 6890657"/>
              <a:gd name="connsiteX47" fmla="*/ 11260577 w 12103100"/>
              <a:gd name="connsiteY47" fmla="*/ 1054516 h 6890657"/>
              <a:gd name="connsiteX48" fmla="*/ 11346204 w 12103100"/>
              <a:gd name="connsiteY48" fmla="*/ 1119347 h 6890657"/>
              <a:gd name="connsiteX49" fmla="*/ 11427055 w 12103100"/>
              <a:gd name="connsiteY49" fmla="*/ 1106000 h 6890657"/>
              <a:gd name="connsiteX50" fmla="*/ 11427055 w 12103100"/>
              <a:gd name="connsiteY50" fmla="*/ 982058 h 6890657"/>
              <a:gd name="connsiteX51" fmla="*/ 11340156 w 12103100"/>
              <a:gd name="connsiteY51" fmla="*/ 915320 h 6890657"/>
              <a:gd name="connsiteX52" fmla="*/ 10739040 w 12103100"/>
              <a:gd name="connsiteY52" fmla="*/ 915320 h 6890657"/>
              <a:gd name="connsiteX53" fmla="*/ 10678560 w 12103100"/>
              <a:gd name="connsiteY53" fmla="*/ 924218 h 6890657"/>
              <a:gd name="connsiteX54" fmla="*/ 10674422 w 12103100"/>
              <a:gd name="connsiteY54" fmla="*/ 968075 h 6890657"/>
              <a:gd name="connsiteX55" fmla="*/ 10733310 w 12103100"/>
              <a:gd name="connsiteY55" fmla="*/ 960765 h 6890657"/>
              <a:gd name="connsiteX56" fmla="*/ 10772462 w 12103100"/>
              <a:gd name="connsiteY56" fmla="*/ 985554 h 6890657"/>
              <a:gd name="connsiteX57" fmla="*/ 10772462 w 12103100"/>
              <a:gd name="connsiteY57" fmla="*/ 991910 h 6890657"/>
              <a:gd name="connsiteX58" fmla="*/ 10735220 w 12103100"/>
              <a:gd name="connsiteY58" fmla="*/ 993817 h 6890657"/>
              <a:gd name="connsiteX59" fmla="*/ 10659461 w 12103100"/>
              <a:gd name="connsiteY59" fmla="*/ 1054516 h 6890657"/>
              <a:gd name="connsiteX60" fmla="*/ 10745088 w 12103100"/>
              <a:gd name="connsiteY60" fmla="*/ 1119347 h 6890657"/>
              <a:gd name="connsiteX61" fmla="*/ 10825939 w 12103100"/>
              <a:gd name="connsiteY61" fmla="*/ 1106000 h 6890657"/>
              <a:gd name="connsiteX62" fmla="*/ 10825939 w 12103100"/>
              <a:gd name="connsiteY62" fmla="*/ 982058 h 6890657"/>
              <a:gd name="connsiteX63" fmla="*/ 10739040 w 12103100"/>
              <a:gd name="connsiteY63" fmla="*/ 915320 h 6890657"/>
              <a:gd name="connsiteX64" fmla="*/ 11523780 w 12103100"/>
              <a:gd name="connsiteY64" fmla="*/ 842549 h 6890657"/>
              <a:gd name="connsiteX65" fmla="*/ 11463940 w 12103100"/>
              <a:gd name="connsiteY65" fmla="*/ 864476 h 6890657"/>
              <a:gd name="connsiteX66" fmla="*/ 11490677 w 12103100"/>
              <a:gd name="connsiteY66" fmla="*/ 1017334 h 6890657"/>
              <a:gd name="connsiteX67" fmla="*/ 11463940 w 12103100"/>
              <a:gd name="connsiteY67" fmla="*/ 1170192 h 6890657"/>
              <a:gd name="connsiteX68" fmla="*/ 11523780 w 12103100"/>
              <a:gd name="connsiteY68" fmla="*/ 1192119 h 6890657"/>
              <a:gd name="connsiteX69" fmla="*/ 11554655 w 12103100"/>
              <a:gd name="connsiteY69" fmla="*/ 1017334 h 6890657"/>
              <a:gd name="connsiteX70" fmla="*/ 11523780 w 12103100"/>
              <a:gd name="connsiteY70" fmla="*/ 842549 h 6890657"/>
              <a:gd name="connsiteX71" fmla="*/ 10562736 w 12103100"/>
              <a:gd name="connsiteY71" fmla="*/ 842549 h 6890657"/>
              <a:gd name="connsiteX72" fmla="*/ 10531862 w 12103100"/>
              <a:gd name="connsiteY72" fmla="*/ 1017334 h 6890657"/>
              <a:gd name="connsiteX73" fmla="*/ 10562736 w 12103100"/>
              <a:gd name="connsiteY73" fmla="*/ 1192119 h 6890657"/>
              <a:gd name="connsiteX74" fmla="*/ 10622577 w 12103100"/>
              <a:gd name="connsiteY74" fmla="*/ 1170192 h 6890657"/>
              <a:gd name="connsiteX75" fmla="*/ 10595840 w 12103100"/>
              <a:gd name="connsiteY75" fmla="*/ 1017334 h 6890657"/>
              <a:gd name="connsiteX76" fmla="*/ 10622577 w 12103100"/>
              <a:gd name="connsiteY76" fmla="*/ 864476 h 6890657"/>
              <a:gd name="connsiteX77" fmla="*/ 10562736 w 12103100"/>
              <a:gd name="connsiteY77" fmla="*/ 842549 h 6890657"/>
              <a:gd name="connsiteX78" fmla="*/ 10915312 w 12103100"/>
              <a:gd name="connsiteY78" fmla="*/ 813307 h 6890657"/>
              <a:gd name="connsiteX79" fmla="*/ 10862159 w 12103100"/>
              <a:gd name="connsiteY79" fmla="*/ 819028 h 6890657"/>
              <a:gd name="connsiteX80" fmla="*/ 10862159 w 12103100"/>
              <a:gd name="connsiteY80" fmla="*/ 1106000 h 6890657"/>
              <a:gd name="connsiteX81" fmla="*/ 10941092 w 12103100"/>
              <a:gd name="connsiteY81" fmla="*/ 1119348 h 6890657"/>
              <a:gd name="connsiteX82" fmla="*/ 11043258 w 12103100"/>
              <a:gd name="connsiteY82" fmla="*/ 1017334 h 6890657"/>
              <a:gd name="connsiteX83" fmla="*/ 10953823 w 12103100"/>
              <a:gd name="connsiteY83" fmla="*/ 915321 h 6890657"/>
              <a:gd name="connsiteX84" fmla="*/ 10915312 w 12103100"/>
              <a:gd name="connsiteY84" fmla="*/ 920088 h 6890657"/>
              <a:gd name="connsiteX85" fmla="*/ 10915312 w 12103100"/>
              <a:gd name="connsiteY85" fmla="*/ 813307 h 6890657"/>
              <a:gd name="connsiteX86" fmla="*/ 11043258 w 12103100"/>
              <a:gd name="connsiteY86" fmla="*/ 506601 h 6890657"/>
              <a:gd name="connsiteX87" fmla="*/ 10579711 w 12103100"/>
              <a:gd name="connsiteY87" fmla="*/ 801548 h 6890657"/>
              <a:gd name="connsiteX88" fmla="*/ 10637655 w 12103100"/>
              <a:gd name="connsiteY88" fmla="*/ 828593 h 6890657"/>
              <a:gd name="connsiteX89" fmla="*/ 11043258 w 12103100"/>
              <a:gd name="connsiteY89" fmla="*/ 570554 h 6890657"/>
              <a:gd name="connsiteX90" fmla="*/ 11448862 w 12103100"/>
              <a:gd name="connsiteY90" fmla="*/ 828593 h 6890657"/>
              <a:gd name="connsiteX91" fmla="*/ 11506805 w 12103100"/>
              <a:gd name="connsiteY91" fmla="*/ 801548 h 6890657"/>
              <a:gd name="connsiteX92" fmla="*/ 11043258 w 12103100"/>
              <a:gd name="connsiteY92" fmla="*/ 506601 h 6890657"/>
              <a:gd name="connsiteX93" fmla="*/ 0 w 12103100"/>
              <a:gd name="connsiteY93" fmla="*/ 0 h 6890657"/>
              <a:gd name="connsiteX94" fmla="*/ 8083685 w 12103100"/>
              <a:gd name="connsiteY94" fmla="*/ 0 h 6890657"/>
              <a:gd name="connsiteX95" fmla="*/ 8527143 w 12103100"/>
              <a:gd name="connsiteY95" fmla="*/ 0 h 6890657"/>
              <a:gd name="connsiteX96" fmla="*/ 12073965 w 12103100"/>
              <a:gd name="connsiteY96" fmla="*/ 0 h 6890657"/>
              <a:gd name="connsiteX97" fmla="*/ 12073965 w 12103100"/>
              <a:gd name="connsiteY97" fmla="*/ 2429182 h 6890657"/>
              <a:gd name="connsiteX98" fmla="*/ 12103100 w 12103100"/>
              <a:gd name="connsiteY98" fmla="*/ 6890657 h 6890657"/>
              <a:gd name="connsiteX99" fmla="*/ 0 w 12103100"/>
              <a:gd name="connsiteY99" fmla="*/ 6858000 h 6890657"/>
              <a:gd name="connsiteX100" fmla="*/ 0 w 12103100"/>
              <a:gd name="connsiteY100" fmla="*/ 0 h 6890657"/>
              <a:gd name="connsiteX0" fmla="*/ 10637654 w 12103100"/>
              <a:gd name="connsiteY0" fmla="*/ 1206076 h 6890657"/>
              <a:gd name="connsiteX1" fmla="*/ 10579711 w 12103100"/>
              <a:gd name="connsiteY1" fmla="*/ 1233121 h 6890657"/>
              <a:gd name="connsiteX2" fmla="*/ 11043258 w 12103100"/>
              <a:gd name="connsiteY2" fmla="*/ 1528067 h 6890657"/>
              <a:gd name="connsiteX3" fmla="*/ 11506805 w 12103100"/>
              <a:gd name="connsiteY3" fmla="*/ 1233121 h 6890657"/>
              <a:gd name="connsiteX4" fmla="*/ 11448862 w 12103100"/>
              <a:gd name="connsiteY4" fmla="*/ 1206076 h 6890657"/>
              <a:gd name="connsiteX5" fmla="*/ 11043258 w 12103100"/>
              <a:gd name="connsiteY5" fmla="*/ 1464114 h 6890657"/>
              <a:gd name="connsiteX6" fmla="*/ 10637654 w 12103100"/>
              <a:gd name="connsiteY6" fmla="*/ 1206076 h 6890657"/>
              <a:gd name="connsiteX7" fmla="*/ 11373556 w 12103100"/>
              <a:gd name="connsiteY7" fmla="*/ 1029296 h 6890657"/>
              <a:gd name="connsiteX8" fmla="*/ 11373556 w 12103100"/>
              <a:gd name="connsiteY8" fmla="*/ 1072273 h 6890657"/>
              <a:gd name="connsiteX9" fmla="*/ 11347339 w 12103100"/>
              <a:gd name="connsiteY9" fmla="*/ 1074820 h 6890657"/>
              <a:gd name="connsiteX10" fmla="*/ 11314408 w 12103100"/>
              <a:gd name="connsiteY10" fmla="*/ 1051581 h 6890657"/>
              <a:gd name="connsiteX11" fmla="*/ 11343183 w 12103100"/>
              <a:gd name="connsiteY11" fmla="*/ 1031206 h 6890657"/>
              <a:gd name="connsiteX12" fmla="*/ 11373556 w 12103100"/>
              <a:gd name="connsiteY12" fmla="*/ 1029296 h 6890657"/>
              <a:gd name="connsiteX13" fmla="*/ 10772440 w 12103100"/>
              <a:gd name="connsiteY13" fmla="*/ 1029296 h 6890657"/>
              <a:gd name="connsiteX14" fmla="*/ 10772440 w 12103100"/>
              <a:gd name="connsiteY14" fmla="*/ 1072273 h 6890657"/>
              <a:gd name="connsiteX15" fmla="*/ 10746371 w 12103100"/>
              <a:gd name="connsiteY15" fmla="*/ 1074820 h 6890657"/>
              <a:gd name="connsiteX16" fmla="*/ 10713625 w 12103100"/>
              <a:gd name="connsiteY16" fmla="*/ 1051581 h 6890657"/>
              <a:gd name="connsiteX17" fmla="*/ 10742238 w 12103100"/>
              <a:gd name="connsiteY17" fmla="*/ 1031206 h 6890657"/>
              <a:gd name="connsiteX18" fmla="*/ 10772440 w 12103100"/>
              <a:gd name="connsiteY18" fmla="*/ 1029296 h 6890657"/>
              <a:gd name="connsiteX19" fmla="*/ 10945198 w 12103100"/>
              <a:gd name="connsiteY19" fmla="*/ 960845 h 6890657"/>
              <a:gd name="connsiteX20" fmla="*/ 10988098 w 12103100"/>
              <a:gd name="connsiteY20" fmla="*/ 1017334 h 6890657"/>
              <a:gd name="connsiteX21" fmla="*/ 10945198 w 12103100"/>
              <a:gd name="connsiteY21" fmla="*/ 1073824 h 6890657"/>
              <a:gd name="connsiteX22" fmla="*/ 10915326 w 12103100"/>
              <a:gd name="connsiteY22" fmla="*/ 1070015 h 6890657"/>
              <a:gd name="connsiteX23" fmla="*/ 10915326 w 12103100"/>
              <a:gd name="connsiteY23" fmla="*/ 964970 h 6890657"/>
              <a:gd name="connsiteX24" fmla="*/ 10945198 w 12103100"/>
              <a:gd name="connsiteY24" fmla="*/ 960845 h 6890657"/>
              <a:gd name="connsiteX25" fmla="*/ 11158645 w 12103100"/>
              <a:gd name="connsiteY25" fmla="*/ 915321 h 6890657"/>
              <a:gd name="connsiteX26" fmla="*/ 11069509 w 12103100"/>
              <a:gd name="connsiteY26" fmla="*/ 982058 h 6890657"/>
              <a:gd name="connsiteX27" fmla="*/ 11139226 w 12103100"/>
              <a:gd name="connsiteY27" fmla="*/ 1035766 h 6890657"/>
              <a:gd name="connsiteX28" fmla="*/ 11182202 w 12103100"/>
              <a:gd name="connsiteY28" fmla="*/ 1054198 h 6890657"/>
              <a:gd name="connsiteX29" fmla="*/ 11142091 w 12103100"/>
              <a:gd name="connsiteY29" fmla="*/ 1073902 h 6890657"/>
              <a:gd name="connsiteX30" fmla="*/ 11073966 w 12103100"/>
              <a:gd name="connsiteY30" fmla="*/ 1064051 h 6890657"/>
              <a:gd name="connsiteX31" fmla="*/ 11078104 w 12103100"/>
              <a:gd name="connsiteY31" fmla="*/ 1108225 h 6890657"/>
              <a:gd name="connsiteX32" fmla="*/ 11146230 w 12103100"/>
              <a:gd name="connsiteY32" fmla="*/ 1119347 h 6890657"/>
              <a:gd name="connsiteX33" fmla="*/ 11236320 w 12103100"/>
              <a:gd name="connsiteY33" fmla="*/ 1054516 h 6890657"/>
              <a:gd name="connsiteX34" fmla="*/ 11160555 w 12103100"/>
              <a:gd name="connsiteY34" fmla="*/ 993817 h 6890657"/>
              <a:gd name="connsiteX35" fmla="*/ 11123309 w 12103100"/>
              <a:gd name="connsiteY35" fmla="*/ 980469 h 6890657"/>
              <a:gd name="connsiteX36" fmla="*/ 11162465 w 12103100"/>
              <a:gd name="connsiteY36" fmla="*/ 960765 h 6890657"/>
              <a:gd name="connsiteX37" fmla="*/ 11221358 w 12103100"/>
              <a:gd name="connsiteY37" fmla="*/ 968076 h 6890657"/>
              <a:gd name="connsiteX38" fmla="*/ 11217220 w 12103100"/>
              <a:gd name="connsiteY38" fmla="*/ 924219 h 6890657"/>
              <a:gd name="connsiteX39" fmla="*/ 11158645 w 12103100"/>
              <a:gd name="connsiteY39" fmla="*/ 915321 h 6890657"/>
              <a:gd name="connsiteX40" fmla="*/ 11340156 w 12103100"/>
              <a:gd name="connsiteY40" fmla="*/ 915320 h 6890657"/>
              <a:gd name="connsiteX41" fmla="*/ 11279676 w 12103100"/>
              <a:gd name="connsiteY41" fmla="*/ 924218 h 6890657"/>
              <a:gd name="connsiteX42" fmla="*/ 11275538 w 12103100"/>
              <a:gd name="connsiteY42" fmla="*/ 968075 h 6890657"/>
              <a:gd name="connsiteX43" fmla="*/ 11334426 w 12103100"/>
              <a:gd name="connsiteY43" fmla="*/ 960765 h 6890657"/>
              <a:gd name="connsiteX44" fmla="*/ 11373578 w 12103100"/>
              <a:gd name="connsiteY44" fmla="*/ 985554 h 6890657"/>
              <a:gd name="connsiteX45" fmla="*/ 11373578 w 12103100"/>
              <a:gd name="connsiteY45" fmla="*/ 991910 h 6890657"/>
              <a:gd name="connsiteX46" fmla="*/ 11336336 w 12103100"/>
              <a:gd name="connsiteY46" fmla="*/ 993817 h 6890657"/>
              <a:gd name="connsiteX47" fmla="*/ 11260577 w 12103100"/>
              <a:gd name="connsiteY47" fmla="*/ 1054516 h 6890657"/>
              <a:gd name="connsiteX48" fmla="*/ 11346204 w 12103100"/>
              <a:gd name="connsiteY48" fmla="*/ 1119347 h 6890657"/>
              <a:gd name="connsiteX49" fmla="*/ 11427055 w 12103100"/>
              <a:gd name="connsiteY49" fmla="*/ 1106000 h 6890657"/>
              <a:gd name="connsiteX50" fmla="*/ 11427055 w 12103100"/>
              <a:gd name="connsiteY50" fmla="*/ 982058 h 6890657"/>
              <a:gd name="connsiteX51" fmla="*/ 11340156 w 12103100"/>
              <a:gd name="connsiteY51" fmla="*/ 915320 h 6890657"/>
              <a:gd name="connsiteX52" fmla="*/ 10739040 w 12103100"/>
              <a:gd name="connsiteY52" fmla="*/ 915320 h 6890657"/>
              <a:gd name="connsiteX53" fmla="*/ 10678560 w 12103100"/>
              <a:gd name="connsiteY53" fmla="*/ 924218 h 6890657"/>
              <a:gd name="connsiteX54" fmla="*/ 10674422 w 12103100"/>
              <a:gd name="connsiteY54" fmla="*/ 968075 h 6890657"/>
              <a:gd name="connsiteX55" fmla="*/ 10733310 w 12103100"/>
              <a:gd name="connsiteY55" fmla="*/ 960765 h 6890657"/>
              <a:gd name="connsiteX56" fmla="*/ 10772462 w 12103100"/>
              <a:gd name="connsiteY56" fmla="*/ 985554 h 6890657"/>
              <a:gd name="connsiteX57" fmla="*/ 10772462 w 12103100"/>
              <a:gd name="connsiteY57" fmla="*/ 991910 h 6890657"/>
              <a:gd name="connsiteX58" fmla="*/ 10735220 w 12103100"/>
              <a:gd name="connsiteY58" fmla="*/ 993817 h 6890657"/>
              <a:gd name="connsiteX59" fmla="*/ 10659461 w 12103100"/>
              <a:gd name="connsiteY59" fmla="*/ 1054516 h 6890657"/>
              <a:gd name="connsiteX60" fmla="*/ 10745088 w 12103100"/>
              <a:gd name="connsiteY60" fmla="*/ 1119347 h 6890657"/>
              <a:gd name="connsiteX61" fmla="*/ 10825939 w 12103100"/>
              <a:gd name="connsiteY61" fmla="*/ 1106000 h 6890657"/>
              <a:gd name="connsiteX62" fmla="*/ 10825939 w 12103100"/>
              <a:gd name="connsiteY62" fmla="*/ 982058 h 6890657"/>
              <a:gd name="connsiteX63" fmla="*/ 10739040 w 12103100"/>
              <a:gd name="connsiteY63" fmla="*/ 915320 h 6890657"/>
              <a:gd name="connsiteX64" fmla="*/ 11523780 w 12103100"/>
              <a:gd name="connsiteY64" fmla="*/ 842549 h 6890657"/>
              <a:gd name="connsiteX65" fmla="*/ 11463940 w 12103100"/>
              <a:gd name="connsiteY65" fmla="*/ 864476 h 6890657"/>
              <a:gd name="connsiteX66" fmla="*/ 11490677 w 12103100"/>
              <a:gd name="connsiteY66" fmla="*/ 1017334 h 6890657"/>
              <a:gd name="connsiteX67" fmla="*/ 11463940 w 12103100"/>
              <a:gd name="connsiteY67" fmla="*/ 1170192 h 6890657"/>
              <a:gd name="connsiteX68" fmla="*/ 11523780 w 12103100"/>
              <a:gd name="connsiteY68" fmla="*/ 1192119 h 6890657"/>
              <a:gd name="connsiteX69" fmla="*/ 11554655 w 12103100"/>
              <a:gd name="connsiteY69" fmla="*/ 1017334 h 6890657"/>
              <a:gd name="connsiteX70" fmla="*/ 11523780 w 12103100"/>
              <a:gd name="connsiteY70" fmla="*/ 842549 h 6890657"/>
              <a:gd name="connsiteX71" fmla="*/ 10562736 w 12103100"/>
              <a:gd name="connsiteY71" fmla="*/ 842549 h 6890657"/>
              <a:gd name="connsiteX72" fmla="*/ 10531862 w 12103100"/>
              <a:gd name="connsiteY72" fmla="*/ 1017334 h 6890657"/>
              <a:gd name="connsiteX73" fmla="*/ 10562736 w 12103100"/>
              <a:gd name="connsiteY73" fmla="*/ 1192119 h 6890657"/>
              <a:gd name="connsiteX74" fmla="*/ 10622577 w 12103100"/>
              <a:gd name="connsiteY74" fmla="*/ 1170192 h 6890657"/>
              <a:gd name="connsiteX75" fmla="*/ 10595840 w 12103100"/>
              <a:gd name="connsiteY75" fmla="*/ 1017334 h 6890657"/>
              <a:gd name="connsiteX76" fmla="*/ 10622577 w 12103100"/>
              <a:gd name="connsiteY76" fmla="*/ 864476 h 6890657"/>
              <a:gd name="connsiteX77" fmla="*/ 10562736 w 12103100"/>
              <a:gd name="connsiteY77" fmla="*/ 842549 h 6890657"/>
              <a:gd name="connsiteX78" fmla="*/ 10915312 w 12103100"/>
              <a:gd name="connsiteY78" fmla="*/ 813307 h 6890657"/>
              <a:gd name="connsiteX79" fmla="*/ 10862159 w 12103100"/>
              <a:gd name="connsiteY79" fmla="*/ 819028 h 6890657"/>
              <a:gd name="connsiteX80" fmla="*/ 10862159 w 12103100"/>
              <a:gd name="connsiteY80" fmla="*/ 1106000 h 6890657"/>
              <a:gd name="connsiteX81" fmla="*/ 10941092 w 12103100"/>
              <a:gd name="connsiteY81" fmla="*/ 1119348 h 6890657"/>
              <a:gd name="connsiteX82" fmla="*/ 11043258 w 12103100"/>
              <a:gd name="connsiteY82" fmla="*/ 1017334 h 6890657"/>
              <a:gd name="connsiteX83" fmla="*/ 10953823 w 12103100"/>
              <a:gd name="connsiteY83" fmla="*/ 915321 h 6890657"/>
              <a:gd name="connsiteX84" fmla="*/ 10915312 w 12103100"/>
              <a:gd name="connsiteY84" fmla="*/ 920088 h 6890657"/>
              <a:gd name="connsiteX85" fmla="*/ 10915312 w 12103100"/>
              <a:gd name="connsiteY85" fmla="*/ 813307 h 6890657"/>
              <a:gd name="connsiteX86" fmla="*/ 11043258 w 12103100"/>
              <a:gd name="connsiteY86" fmla="*/ 506601 h 6890657"/>
              <a:gd name="connsiteX87" fmla="*/ 10579711 w 12103100"/>
              <a:gd name="connsiteY87" fmla="*/ 801548 h 6890657"/>
              <a:gd name="connsiteX88" fmla="*/ 10637655 w 12103100"/>
              <a:gd name="connsiteY88" fmla="*/ 828593 h 6890657"/>
              <a:gd name="connsiteX89" fmla="*/ 11043258 w 12103100"/>
              <a:gd name="connsiteY89" fmla="*/ 570554 h 6890657"/>
              <a:gd name="connsiteX90" fmla="*/ 11448862 w 12103100"/>
              <a:gd name="connsiteY90" fmla="*/ 828593 h 6890657"/>
              <a:gd name="connsiteX91" fmla="*/ 11506805 w 12103100"/>
              <a:gd name="connsiteY91" fmla="*/ 801548 h 6890657"/>
              <a:gd name="connsiteX92" fmla="*/ 11043258 w 12103100"/>
              <a:gd name="connsiteY92" fmla="*/ 506601 h 6890657"/>
              <a:gd name="connsiteX93" fmla="*/ 0 w 12103100"/>
              <a:gd name="connsiteY93" fmla="*/ 0 h 6890657"/>
              <a:gd name="connsiteX94" fmla="*/ 8083685 w 12103100"/>
              <a:gd name="connsiteY94" fmla="*/ 0 h 6890657"/>
              <a:gd name="connsiteX95" fmla="*/ 8527143 w 12103100"/>
              <a:gd name="connsiteY95" fmla="*/ 0 h 6890657"/>
              <a:gd name="connsiteX96" fmla="*/ 12073965 w 12103100"/>
              <a:gd name="connsiteY96" fmla="*/ 0 h 6890657"/>
              <a:gd name="connsiteX97" fmla="*/ 12103100 w 12103100"/>
              <a:gd name="connsiteY97" fmla="*/ 6890657 h 6890657"/>
              <a:gd name="connsiteX98" fmla="*/ 0 w 12103100"/>
              <a:gd name="connsiteY98" fmla="*/ 6858000 h 6890657"/>
              <a:gd name="connsiteX99" fmla="*/ 0 w 12103100"/>
              <a:gd name="connsiteY99" fmla="*/ 0 h 68906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</a:cxnLst>
            <a:rect l="l" t="t" r="r" b="b"/>
            <a:pathLst>
              <a:path w="12103100" h="6890657">
                <a:moveTo>
                  <a:pt x="10637654" y="1206076"/>
                </a:moveTo>
                <a:lnTo>
                  <a:pt x="10579711" y="1233121"/>
                </a:lnTo>
                <a:cubicBezTo>
                  <a:pt x="10661214" y="1407479"/>
                  <a:pt x="10838228" y="1528067"/>
                  <a:pt x="11043258" y="1528067"/>
                </a:cubicBezTo>
                <a:cubicBezTo>
                  <a:pt x="11248289" y="1528067"/>
                  <a:pt x="11425302" y="1407479"/>
                  <a:pt x="11506805" y="1233121"/>
                </a:cubicBezTo>
                <a:lnTo>
                  <a:pt x="11448862" y="1206076"/>
                </a:lnTo>
                <a:cubicBezTo>
                  <a:pt x="11377547" y="1358481"/>
                  <a:pt x="11222819" y="1464114"/>
                  <a:pt x="11043258" y="1464114"/>
                </a:cubicBezTo>
                <a:cubicBezTo>
                  <a:pt x="10863698" y="1464114"/>
                  <a:pt x="10708970" y="1358481"/>
                  <a:pt x="10637654" y="1206076"/>
                </a:cubicBezTo>
                <a:close/>
                <a:moveTo>
                  <a:pt x="11373556" y="1029296"/>
                </a:moveTo>
                <a:lnTo>
                  <a:pt x="11373556" y="1072273"/>
                </a:lnTo>
                <a:cubicBezTo>
                  <a:pt x="11366523" y="1073229"/>
                  <a:pt x="11356931" y="1074820"/>
                  <a:pt x="11347339" y="1074820"/>
                </a:cubicBezTo>
                <a:cubicBezTo>
                  <a:pt x="11324000" y="1074820"/>
                  <a:pt x="11314408" y="1067498"/>
                  <a:pt x="11314408" y="1051581"/>
                </a:cubicBezTo>
                <a:cubicBezTo>
                  <a:pt x="11314408" y="1035027"/>
                  <a:pt x="11323680" y="1032161"/>
                  <a:pt x="11343183" y="1031206"/>
                </a:cubicBezTo>
                <a:lnTo>
                  <a:pt x="11373556" y="1029296"/>
                </a:lnTo>
                <a:close/>
                <a:moveTo>
                  <a:pt x="10772440" y="1029296"/>
                </a:moveTo>
                <a:lnTo>
                  <a:pt x="10772440" y="1072273"/>
                </a:lnTo>
                <a:cubicBezTo>
                  <a:pt x="10765446" y="1073229"/>
                  <a:pt x="10756227" y="1074820"/>
                  <a:pt x="10746371" y="1074820"/>
                </a:cubicBezTo>
                <a:cubicBezTo>
                  <a:pt x="10723162" y="1074820"/>
                  <a:pt x="10713625" y="1067498"/>
                  <a:pt x="10713625" y="1051581"/>
                </a:cubicBezTo>
                <a:cubicBezTo>
                  <a:pt x="10713625" y="1035027"/>
                  <a:pt x="10722844" y="1032161"/>
                  <a:pt x="10742238" y="1031206"/>
                </a:cubicBezTo>
                <a:lnTo>
                  <a:pt x="10772440" y="1029296"/>
                </a:lnTo>
                <a:close/>
                <a:moveTo>
                  <a:pt x="10945198" y="960845"/>
                </a:moveTo>
                <a:cubicBezTo>
                  <a:pt x="10974116" y="960845"/>
                  <a:pt x="10988098" y="974174"/>
                  <a:pt x="10988098" y="1017334"/>
                </a:cubicBezTo>
                <a:cubicBezTo>
                  <a:pt x="10988098" y="1060495"/>
                  <a:pt x="10974116" y="1073824"/>
                  <a:pt x="10945198" y="1073824"/>
                </a:cubicBezTo>
                <a:cubicBezTo>
                  <a:pt x="10935664" y="1073824"/>
                  <a:pt x="10927084" y="1072554"/>
                  <a:pt x="10915326" y="1070015"/>
                </a:cubicBezTo>
                <a:lnTo>
                  <a:pt x="10915326" y="964970"/>
                </a:lnTo>
                <a:cubicBezTo>
                  <a:pt x="10925177" y="962749"/>
                  <a:pt x="10934711" y="960845"/>
                  <a:pt x="10945198" y="960845"/>
                </a:cubicBezTo>
                <a:close/>
                <a:moveTo>
                  <a:pt x="11158645" y="915321"/>
                </a:moveTo>
                <a:cubicBezTo>
                  <a:pt x="11094340" y="915321"/>
                  <a:pt x="11069509" y="938520"/>
                  <a:pt x="11069509" y="982058"/>
                </a:cubicBezTo>
                <a:cubicBezTo>
                  <a:pt x="11069509" y="1024325"/>
                  <a:pt x="11095614" y="1035131"/>
                  <a:pt x="11139226" y="1035766"/>
                </a:cubicBezTo>
                <a:cubicBezTo>
                  <a:pt x="11167558" y="1036402"/>
                  <a:pt x="11182202" y="1035449"/>
                  <a:pt x="11182202" y="1054198"/>
                </a:cubicBezTo>
                <a:cubicBezTo>
                  <a:pt x="11182202" y="1070406"/>
                  <a:pt x="11169468" y="1073902"/>
                  <a:pt x="11142091" y="1073902"/>
                </a:cubicBezTo>
                <a:cubicBezTo>
                  <a:pt x="11111530" y="1073902"/>
                  <a:pt x="11089883" y="1069135"/>
                  <a:pt x="11073966" y="1064051"/>
                </a:cubicBezTo>
                <a:lnTo>
                  <a:pt x="11078104" y="1108225"/>
                </a:lnTo>
                <a:cubicBezTo>
                  <a:pt x="11098478" y="1115534"/>
                  <a:pt x="11117897" y="1119347"/>
                  <a:pt x="11146230" y="1119347"/>
                </a:cubicBezTo>
                <a:cubicBezTo>
                  <a:pt x="11214991" y="1119347"/>
                  <a:pt x="11236320" y="1096148"/>
                  <a:pt x="11236320" y="1054516"/>
                </a:cubicBezTo>
                <a:cubicBezTo>
                  <a:pt x="11236320" y="1001762"/>
                  <a:pt x="11201620" y="994452"/>
                  <a:pt x="11160555" y="993817"/>
                </a:cubicBezTo>
                <a:cubicBezTo>
                  <a:pt x="11137634" y="993499"/>
                  <a:pt x="11123309" y="992863"/>
                  <a:pt x="11123309" y="980469"/>
                </a:cubicBezTo>
                <a:cubicBezTo>
                  <a:pt x="11123309" y="964262"/>
                  <a:pt x="11133178" y="960765"/>
                  <a:pt x="11162465" y="960765"/>
                </a:cubicBezTo>
                <a:cubicBezTo>
                  <a:pt x="11180292" y="960765"/>
                  <a:pt x="11205441" y="964262"/>
                  <a:pt x="11221358" y="968076"/>
                </a:cubicBezTo>
                <a:lnTo>
                  <a:pt x="11217220" y="924219"/>
                </a:lnTo>
                <a:cubicBezTo>
                  <a:pt x="11196527" y="917863"/>
                  <a:pt x="11173925" y="915321"/>
                  <a:pt x="11158645" y="915321"/>
                </a:cubicBezTo>
                <a:close/>
                <a:moveTo>
                  <a:pt x="11340156" y="915320"/>
                </a:moveTo>
                <a:cubicBezTo>
                  <a:pt x="11322967" y="915320"/>
                  <a:pt x="11300366" y="917863"/>
                  <a:pt x="11279676" y="924218"/>
                </a:cubicBezTo>
                <a:lnTo>
                  <a:pt x="11275538" y="968075"/>
                </a:lnTo>
                <a:cubicBezTo>
                  <a:pt x="11292408" y="964262"/>
                  <a:pt x="11317555" y="960765"/>
                  <a:pt x="11334426" y="960765"/>
                </a:cubicBezTo>
                <a:cubicBezTo>
                  <a:pt x="11362119" y="960765"/>
                  <a:pt x="11373578" y="963308"/>
                  <a:pt x="11373578" y="985554"/>
                </a:cubicBezTo>
                <a:lnTo>
                  <a:pt x="11373578" y="991910"/>
                </a:lnTo>
                <a:lnTo>
                  <a:pt x="11336336" y="993817"/>
                </a:lnTo>
                <a:cubicBezTo>
                  <a:pt x="11295274" y="996041"/>
                  <a:pt x="11260577" y="1001762"/>
                  <a:pt x="11260577" y="1054516"/>
                </a:cubicBezTo>
                <a:cubicBezTo>
                  <a:pt x="11260577" y="1096148"/>
                  <a:pt x="11281904" y="1119347"/>
                  <a:pt x="11346204" y="1119347"/>
                </a:cubicBezTo>
                <a:cubicBezTo>
                  <a:pt x="11376125" y="1119347"/>
                  <a:pt x="11404773" y="1112991"/>
                  <a:pt x="11427055" y="1106000"/>
                </a:cubicBezTo>
                <a:lnTo>
                  <a:pt x="11427055" y="982058"/>
                </a:lnTo>
                <a:cubicBezTo>
                  <a:pt x="11427055" y="938520"/>
                  <a:pt x="11402545" y="915320"/>
                  <a:pt x="11340156" y="915320"/>
                </a:cubicBezTo>
                <a:close/>
                <a:moveTo>
                  <a:pt x="10739040" y="915320"/>
                </a:moveTo>
                <a:cubicBezTo>
                  <a:pt x="10721851" y="915320"/>
                  <a:pt x="10699250" y="917863"/>
                  <a:pt x="10678560" y="924218"/>
                </a:cubicBezTo>
                <a:lnTo>
                  <a:pt x="10674422" y="968075"/>
                </a:lnTo>
                <a:cubicBezTo>
                  <a:pt x="10691293" y="964262"/>
                  <a:pt x="10716440" y="960765"/>
                  <a:pt x="10733310" y="960765"/>
                </a:cubicBezTo>
                <a:cubicBezTo>
                  <a:pt x="10761004" y="960765"/>
                  <a:pt x="10772462" y="963308"/>
                  <a:pt x="10772462" y="985554"/>
                </a:cubicBezTo>
                <a:lnTo>
                  <a:pt x="10772462" y="991910"/>
                </a:lnTo>
                <a:lnTo>
                  <a:pt x="10735220" y="993817"/>
                </a:lnTo>
                <a:cubicBezTo>
                  <a:pt x="10694158" y="996041"/>
                  <a:pt x="10659461" y="1003033"/>
                  <a:pt x="10659461" y="1054516"/>
                </a:cubicBezTo>
                <a:cubicBezTo>
                  <a:pt x="10659461" y="1096148"/>
                  <a:pt x="10680788" y="1119347"/>
                  <a:pt x="10745088" y="1119347"/>
                </a:cubicBezTo>
                <a:cubicBezTo>
                  <a:pt x="10775010" y="1119347"/>
                  <a:pt x="10803658" y="1112991"/>
                  <a:pt x="10825939" y="1106000"/>
                </a:cubicBezTo>
                <a:lnTo>
                  <a:pt x="10825939" y="982058"/>
                </a:lnTo>
                <a:cubicBezTo>
                  <a:pt x="10825939" y="938520"/>
                  <a:pt x="10801430" y="915320"/>
                  <a:pt x="10739040" y="915320"/>
                </a:cubicBezTo>
                <a:close/>
                <a:moveTo>
                  <a:pt x="11523780" y="842549"/>
                </a:moveTo>
                <a:lnTo>
                  <a:pt x="11463940" y="864476"/>
                </a:lnTo>
                <a:cubicBezTo>
                  <a:pt x="11481128" y="912145"/>
                  <a:pt x="11490677" y="963627"/>
                  <a:pt x="11490677" y="1017334"/>
                </a:cubicBezTo>
                <a:cubicBezTo>
                  <a:pt x="11490677" y="1071041"/>
                  <a:pt x="11481128" y="1122523"/>
                  <a:pt x="11463940" y="1170192"/>
                </a:cubicBezTo>
                <a:lnTo>
                  <a:pt x="11523780" y="1192119"/>
                </a:lnTo>
                <a:cubicBezTo>
                  <a:pt x="11543833" y="1137459"/>
                  <a:pt x="11554655" y="1078667"/>
                  <a:pt x="11554655" y="1017334"/>
                </a:cubicBezTo>
                <a:cubicBezTo>
                  <a:pt x="11554655" y="956000"/>
                  <a:pt x="11543833" y="897208"/>
                  <a:pt x="11523780" y="842549"/>
                </a:cubicBezTo>
                <a:close/>
                <a:moveTo>
                  <a:pt x="10562736" y="842549"/>
                </a:moveTo>
                <a:cubicBezTo>
                  <a:pt x="10542684" y="897208"/>
                  <a:pt x="10531862" y="956000"/>
                  <a:pt x="10531862" y="1017334"/>
                </a:cubicBezTo>
                <a:cubicBezTo>
                  <a:pt x="10531862" y="1078667"/>
                  <a:pt x="10542684" y="1137459"/>
                  <a:pt x="10562736" y="1192119"/>
                </a:cubicBezTo>
                <a:lnTo>
                  <a:pt x="10622577" y="1170192"/>
                </a:lnTo>
                <a:cubicBezTo>
                  <a:pt x="10605389" y="1122523"/>
                  <a:pt x="10595840" y="1071041"/>
                  <a:pt x="10595840" y="1017334"/>
                </a:cubicBezTo>
                <a:cubicBezTo>
                  <a:pt x="10595840" y="963627"/>
                  <a:pt x="10605389" y="912145"/>
                  <a:pt x="10622577" y="864476"/>
                </a:cubicBezTo>
                <a:lnTo>
                  <a:pt x="10562736" y="842549"/>
                </a:lnTo>
                <a:close/>
                <a:moveTo>
                  <a:pt x="10915312" y="813307"/>
                </a:moveTo>
                <a:lnTo>
                  <a:pt x="10862159" y="819028"/>
                </a:lnTo>
                <a:lnTo>
                  <a:pt x="10862159" y="1106000"/>
                </a:lnTo>
                <a:cubicBezTo>
                  <a:pt x="10884120" y="1112992"/>
                  <a:pt x="10912765" y="1119348"/>
                  <a:pt x="10941092" y="1119348"/>
                </a:cubicBezTo>
                <a:cubicBezTo>
                  <a:pt x="11005383" y="1119348"/>
                  <a:pt x="11043258" y="1097738"/>
                  <a:pt x="11043258" y="1017334"/>
                </a:cubicBezTo>
                <a:cubicBezTo>
                  <a:pt x="11043258" y="936931"/>
                  <a:pt x="11005383" y="915321"/>
                  <a:pt x="10953823" y="915321"/>
                </a:cubicBezTo>
                <a:cubicBezTo>
                  <a:pt x="10941092" y="915321"/>
                  <a:pt x="10927406" y="917545"/>
                  <a:pt x="10915312" y="920088"/>
                </a:cubicBezTo>
                <a:lnTo>
                  <a:pt x="10915312" y="813307"/>
                </a:lnTo>
                <a:close/>
                <a:moveTo>
                  <a:pt x="11043258" y="506601"/>
                </a:moveTo>
                <a:cubicBezTo>
                  <a:pt x="10838228" y="506601"/>
                  <a:pt x="10661214" y="627189"/>
                  <a:pt x="10579711" y="801548"/>
                </a:cubicBezTo>
                <a:lnTo>
                  <a:pt x="10637655" y="828593"/>
                </a:lnTo>
                <a:cubicBezTo>
                  <a:pt x="10708970" y="676188"/>
                  <a:pt x="10863698" y="570554"/>
                  <a:pt x="11043258" y="570554"/>
                </a:cubicBezTo>
                <a:cubicBezTo>
                  <a:pt x="11222819" y="570554"/>
                  <a:pt x="11377547" y="676188"/>
                  <a:pt x="11448862" y="828593"/>
                </a:cubicBezTo>
                <a:lnTo>
                  <a:pt x="11506805" y="801548"/>
                </a:lnTo>
                <a:cubicBezTo>
                  <a:pt x="11425302" y="627189"/>
                  <a:pt x="11248289" y="506601"/>
                  <a:pt x="11043258" y="506601"/>
                </a:cubicBezTo>
                <a:close/>
                <a:moveTo>
                  <a:pt x="0" y="0"/>
                </a:moveTo>
                <a:lnTo>
                  <a:pt x="8083685" y="0"/>
                </a:lnTo>
                <a:lnTo>
                  <a:pt x="8527143" y="0"/>
                </a:lnTo>
                <a:lnTo>
                  <a:pt x="12073965" y="0"/>
                </a:lnTo>
                <a:lnTo>
                  <a:pt x="12103100" y="6890657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520905"/>
            <a:ext cx="7166539" cy="1637364"/>
          </a:xfrm>
          <a:prstGeom prst="rect">
            <a:avLst/>
          </a:prstGeom>
        </p:spPr>
        <p:txBody>
          <a:bodyPr lIns="0" tIns="36000" rIns="36000" bIns="36000" anchor="b">
            <a:noAutofit/>
          </a:bodyPr>
          <a:lstStyle>
            <a:lvl1pPr algn="l">
              <a:defRPr sz="44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176199"/>
            <a:ext cx="7166539" cy="732413"/>
          </a:xfrm>
          <a:prstGeom prst="rect">
            <a:avLst/>
          </a:prstGeom>
        </p:spPr>
        <p:txBody>
          <a:bodyPr lIns="0" tIns="36000" rIns="36000" bIns="3600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7200D456-A243-45F2-9216-DF8585E26C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6" y="6129339"/>
            <a:ext cx="7167600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3DFAA06-BCA8-4754-92E2-D4CD633664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23038" y="4273068"/>
            <a:ext cx="7166539" cy="216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Add date</a:t>
            </a:r>
            <a:endParaRPr lang="en-GB"/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99D270A3-CD1B-4C74-9532-388A935625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23038" y="4514289"/>
            <a:ext cx="7166539" cy="216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Add name and surname of presenter</a:t>
            </a:r>
            <a:endParaRPr lang="en-GB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B37B4E3-7AC6-4CB3-9964-6C5F6875564B}"/>
              </a:ext>
            </a:extLst>
          </p:cNvPr>
          <p:cNvGrpSpPr/>
          <p:nvPr userDrawn="1"/>
        </p:nvGrpSpPr>
        <p:grpSpPr>
          <a:xfrm>
            <a:off x="12073965" y="-3096"/>
            <a:ext cx="127000" cy="6858000"/>
            <a:chOff x="12073965" y="-3096"/>
            <a:chExt cx="127000" cy="6096000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00E49DC-7342-4331-B464-85000422AE20}"/>
                </a:ext>
              </a:extLst>
            </p:cNvPr>
            <p:cNvSpPr/>
            <p:nvPr/>
          </p:nvSpPr>
          <p:spPr>
            <a:xfrm>
              <a:off x="12073965" y="-3096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500D2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BC65FE0F-613F-453F-B636-58DB98498494}"/>
                </a:ext>
              </a:extLst>
            </p:cNvPr>
            <p:cNvSpPr/>
            <p:nvPr/>
          </p:nvSpPr>
          <p:spPr>
            <a:xfrm>
              <a:off x="12073965" y="758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96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B2C8A2C-D93D-4113-9573-8C7B4BE57DAE}"/>
                </a:ext>
              </a:extLst>
            </p:cNvPr>
            <p:cNvSpPr/>
            <p:nvPr/>
          </p:nvSpPr>
          <p:spPr>
            <a:xfrm>
              <a:off x="12073965" y="377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650E35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A45F09D-CE15-4854-9BE5-912DBAC0B16C}"/>
                </a:ext>
              </a:extLst>
            </p:cNvPr>
            <p:cNvSpPr/>
            <p:nvPr/>
          </p:nvSpPr>
          <p:spPr>
            <a:xfrm>
              <a:off x="12073965" y="1139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A183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4400575-E1B3-46D6-8699-24C946A74602}"/>
                </a:ext>
              </a:extLst>
            </p:cNvPr>
            <p:cNvSpPr/>
            <p:nvPr/>
          </p:nvSpPr>
          <p:spPr>
            <a:xfrm>
              <a:off x="12073965" y="3044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A183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B5E1AE9-41F2-445D-A869-AE70053E56C3}"/>
                </a:ext>
              </a:extLst>
            </p:cNvPr>
            <p:cNvSpPr/>
            <p:nvPr/>
          </p:nvSpPr>
          <p:spPr>
            <a:xfrm>
              <a:off x="12073965" y="3806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500D2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4A22D74-427D-4A9E-9B32-34776B5152AF}"/>
                </a:ext>
              </a:extLst>
            </p:cNvPr>
            <p:cNvSpPr/>
            <p:nvPr/>
          </p:nvSpPr>
          <p:spPr>
            <a:xfrm>
              <a:off x="12073965" y="3425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96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878B1440-BCD1-4554-A6FF-3D7E9D9A4EE9}"/>
                </a:ext>
              </a:extLst>
            </p:cNvPr>
            <p:cNvSpPr/>
            <p:nvPr/>
          </p:nvSpPr>
          <p:spPr>
            <a:xfrm>
              <a:off x="12073965" y="4187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650E35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DB978-707C-47F2-B1D6-0FF48AFC43C4}"/>
                </a:ext>
              </a:extLst>
            </p:cNvPr>
            <p:cNvSpPr/>
            <p:nvPr/>
          </p:nvSpPr>
          <p:spPr>
            <a:xfrm>
              <a:off x="12073965" y="1520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BE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60A0119F-1157-4F58-A309-8EE2D9CCE6EF}"/>
                </a:ext>
              </a:extLst>
            </p:cNvPr>
            <p:cNvSpPr/>
            <p:nvPr/>
          </p:nvSpPr>
          <p:spPr>
            <a:xfrm>
              <a:off x="12073965" y="2282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F7721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E83229C4-57C6-4005-BAC7-5D265859FB66}"/>
                </a:ext>
              </a:extLst>
            </p:cNvPr>
            <p:cNvSpPr/>
            <p:nvPr/>
          </p:nvSpPr>
          <p:spPr>
            <a:xfrm>
              <a:off x="12073965" y="1901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DC0A34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C8952483-8AC7-4EF8-B0E5-CB21B939F01F}"/>
                </a:ext>
              </a:extLst>
            </p:cNvPr>
            <p:cNvSpPr/>
            <p:nvPr/>
          </p:nvSpPr>
          <p:spPr>
            <a:xfrm>
              <a:off x="12073965" y="2663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A5728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D59C2FE-BA22-4915-B1E2-2D920CE108F6}"/>
                </a:ext>
              </a:extLst>
            </p:cNvPr>
            <p:cNvSpPr/>
            <p:nvPr/>
          </p:nvSpPr>
          <p:spPr>
            <a:xfrm>
              <a:off x="12073965" y="4568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88133E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FFCC2B5-4CCD-43F6-8C15-6647B1840658}"/>
                </a:ext>
              </a:extLst>
            </p:cNvPr>
            <p:cNvSpPr/>
            <p:nvPr/>
          </p:nvSpPr>
          <p:spPr>
            <a:xfrm>
              <a:off x="12073965" y="5330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8365C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51BBD9B-D327-48C5-89EB-7667B4D63567}"/>
                </a:ext>
              </a:extLst>
            </p:cNvPr>
            <p:cNvSpPr/>
            <p:nvPr/>
          </p:nvSpPr>
          <p:spPr>
            <a:xfrm>
              <a:off x="12073965" y="4949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F184C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8743D6EC-2967-4C27-8B9A-03A0D21C339D}"/>
                </a:ext>
              </a:extLst>
            </p:cNvPr>
            <p:cNvSpPr/>
            <p:nvPr/>
          </p:nvSpPr>
          <p:spPr>
            <a:xfrm>
              <a:off x="12073965" y="5711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B5A7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38600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1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5D3A4F-C11A-480D-B249-1B3A0A517F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776" y="1213252"/>
            <a:ext cx="11337924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GB" sz="15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  <a:spcAft>
                <a:spcPts val="0"/>
              </a:spcAft>
            </a:pPr>
            <a:r>
              <a:rPr lang="en-US"/>
              <a:t>Add sub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FAFE8B-1D42-460B-875F-B063FE652E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7" y="1628777"/>
            <a:ext cx="11337925" cy="45005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GB" sz="120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5117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_#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341439"/>
            <a:ext cx="5552892" cy="174511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4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104479"/>
            <a:ext cx="5552892" cy="7324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E489B54B-7193-4CFC-A69B-CC135969E1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60294" t="22177" r="9338" b="33379"/>
          <a:stretch/>
        </p:blipFill>
        <p:spPr>
          <a:xfrm>
            <a:off x="7351058" y="1520826"/>
            <a:ext cx="3702423" cy="3048080"/>
          </a:xfrm>
          <a:prstGeom prst="rect">
            <a:avLst/>
          </a:prstGeom>
        </p:spPr>
      </p:pic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19163576-E8E1-4806-B23A-BE97EF09C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61769" y="2169251"/>
            <a:ext cx="2519362" cy="159591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04202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_#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C07F8FE-17A3-46C6-8E23-99B08D1E4C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57102" y="1347666"/>
            <a:ext cx="4965239" cy="3439487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341439"/>
            <a:ext cx="5552892" cy="174511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104479"/>
            <a:ext cx="5552892" cy="7324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19163576-E8E1-4806-B23A-BE97EF09C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61769" y="2169251"/>
            <a:ext cx="2519362" cy="159591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13994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yellow_#_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C07F8FE-17A3-46C6-8E23-99B08D1E4C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57102" y="1347666"/>
            <a:ext cx="4965239" cy="3439487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341439"/>
            <a:ext cx="5552892" cy="174511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104479"/>
            <a:ext cx="5552892" cy="7324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19163576-E8E1-4806-B23A-BE97EF09C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61769" y="2169251"/>
            <a:ext cx="2519362" cy="159591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72834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ange_#_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C07F8FE-17A3-46C6-8E23-99B08D1E4C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57102" y="1347666"/>
            <a:ext cx="4965239" cy="3439487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341439"/>
            <a:ext cx="5552892" cy="174511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104479"/>
            <a:ext cx="5552892" cy="7324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19163576-E8E1-4806-B23A-BE97EF09C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61769" y="2169251"/>
            <a:ext cx="2519362" cy="159591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321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ink_#_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C07F8FE-17A3-46C6-8E23-99B08D1E4C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57102" y="1347666"/>
            <a:ext cx="4965239" cy="3439487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341439"/>
            <a:ext cx="5552892" cy="174511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104479"/>
            <a:ext cx="5552892" cy="7324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19163576-E8E1-4806-B23A-BE97EF09C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61769" y="2169251"/>
            <a:ext cx="2519362" cy="159591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466219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um_#_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C07F8FE-17A3-46C6-8E23-99B08D1E4C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57102" y="1347666"/>
            <a:ext cx="4965239" cy="3439487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341439"/>
            <a:ext cx="5552892" cy="174511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104479"/>
            <a:ext cx="5552892" cy="7324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19163576-E8E1-4806-B23A-BE97EF09C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61769" y="2169251"/>
            <a:ext cx="2519362" cy="159591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80992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ark plum_#_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C07F8FE-17A3-46C6-8E23-99B08D1E4C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57102" y="1347666"/>
            <a:ext cx="4965239" cy="3439487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341439"/>
            <a:ext cx="5552892" cy="174511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104479"/>
            <a:ext cx="5552892" cy="7324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19163576-E8E1-4806-B23A-BE97EF09C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61769" y="2169251"/>
            <a:ext cx="2519362" cy="159591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591501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_#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C07F8FE-17A3-46C6-8E23-99B08D1E4C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57102" y="1347666"/>
            <a:ext cx="4965239" cy="3439487"/>
          </a:xfrm>
          <a:prstGeom prst="rect">
            <a:avLst/>
          </a:prstGeom>
          <a:noFill/>
        </p:spPr>
      </p:pic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846F1236-7B73-4879-BBE5-FC65A24DAC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070800" cy="6854904"/>
          </a:xfrm>
          <a:custGeom>
            <a:avLst/>
            <a:gdLst>
              <a:gd name="connsiteX0" fmla="*/ 7734036 w 12070800"/>
              <a:gd name="connsiteY0" fmla="*/ 2179664 h 6854904"/>
              <a:gd name="connsiteX1" fmla="*/ 7538877 w 12070800"/>
              <a:gd name="connsiteY1" fmla="*/ 3055673 h 6854904"/>
              <a:gd name="connsiteX2" fmla="*/ 7734036 w 12070800"/>
              <a:gd name="connsiteY2" fmla="*/ 3933289 h 6854904"/>
              <a:gd name="connsiteX3" fmla="*/ 7969517 w 12070800"/>
              <a:gd name="connsiteY3" fmla="*/ 3823989 h 6854904"/>
              <a:gd name="connsiteX4" fmla="*/ 7800164 w 12070800"/>
              <a:gd name="connsiteY4" fmla="*/ 3055673 h 6854904"/>
              <a:gd name="connsiteX5" fmla="*/ 7969517 w 12070800"/>
              <a:gd name="connsiteY5" fmla="*/ 2288965 h 6854904"/>
              <a:gd name="connsiteX6" fmla="*/ 7734036 w 12070800"/>
              <a:gd name="connsiteY6" fmla="*/ 2179664 h 6854904"/>
              <a:gd name="connsiteX7" fmla="*/ 10101110 w 12070800"/>
              <a:gd name="connsiteY7" fmla="*/ 1589409 h 6854904"/>
              <a:gd name="connsiteX8" fmla="*/ 9917679 w 12070800"/>
              <a:gd name="connsiteY8" fmla="*/ 1772625 h 6854904"/>
              <a:gd name="connsiteX9" fmla="*/ 10450272 w 12070800"/>
              <a:gd name="connsiteY9" fmla="*/ 3056745 h 6854904"/>
              <a:gd name="connsiteX10" fmla="*/ 9917679 w 12070800"/>
              <a:gd name="connsiteY10" fmla="*/ 4339257 h 6854904"/>
              <a:gd name="connsiteX11" fmla="*/ 10101110 w 12070800"/>
              <a:gd name="connsiteY11" fmla="*/ 4522473 h 6854904"/>
              <a:gd name="connsiteX12" fmla="*/ 10709328 w 12070800"/>
              <a:gd name="connsiteY12" fmla="*/ 3056745 h 6854904"/>
              <a:gd name="connsiteX13" fmla="*/ 10101110 w 12070800"/>
              <a:gd name="connsiteY13" fmla="*/ 1589409 h 6854904"/>
              <a:gd name="connsiteX14" fmla="*/ 0 w 12070800"/>
              <a:gd name="connsiteY14" fmla="*/ 0 h 6854904"/>
              <a:gd name="connsiteX15" fmla="*/ 12070800 w 12070800"/>
              <a:gd name="connsiteY15" fmla="*/ 0 h 6854904"/>
              <a:gd name="connsiteX16" fmla="*/ 12070800 w 12070800"/>
              <a:gd name="connsiteY16" fmla="*/ 6854904 h 6854904"/>
              <a:gd name="connsiteX17" fmla="*/ 0 w 12070800"/>
              <a:gd name="connsiteY17" fmla="*/ 6854904 h 6854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2070800" h="6854904">
                <a:moveTo>
                  <a:pt x="7734036" y="2179664"/>
                </a:moveTo>
                <a:cubicBezTo>
                  <a:pt x="7609844" y="2444878"/>
                  <a:pt x="7538877" y="2742239"/>
                  <a:pt x="7538877" y="3055673"/>
                </a:cubicBezTo>
                <a:cubicBezTo>
                  <a:pt x="7538877" y="3369107"/>
                  <a:pt x="7609844" y="3666468"/>
                  <a:pt x="7734036" y="3933289"/>
                </a:cubicBezTo>
                <a:cubicBezTo>
                  <a:pt x="7969517" y="3823989"/>
                  <a:pt x="7969517" y="3823989"/>
                  <a:pt x="7969517" y="3823989"/>
                </a:cubicBezTo>
                <a:cubicBezTo>
                  <a:pt x="7861454" y="3590922"/>
                  <a:pt x="7800164" y="3330531"/>
                  <a:pt x="7800164" y="3055673"/>
                </a:cubicBezTo>
                <a:cubicBezTo>
                  <a:pt x="7800164" y="2782423"/>
                  <a:pt x="7861454" y="2522031"/>
                  <a:pt x="7969517" y="2288965"/>
                </a:cubicBezTo>
                <a:cubicBezTo>
                  <a:pt x="7734036" y="2179664"/>
                  <a:pt x="7734036" y="2179664"/>
                  <a:pt x="7734036" y="2179664"/>
                </a:cubicBezTo>
                <a:close/>
                <a:moveTo>
                  <a:pt x="10101110" y="1589409"/>
                </a:moveTo>
                <a:cubicBezTo>
                  <a:pt x="9917679" y="1772625"/>
                  <a:pt x="9917679" y="1772625"/>
                  <a:pt x="9917679" y="1772625"/>
                </a:cubicBezTo>
                <a:cubicBezTo>
                  <a:pt x="10245924" y="2100485"/>
                  <a:pt x="10450272" y="2555312"/>
                  <a:pt x="10450272" y="3056745"/>
                </a:cubicBezTo>
                <a:cubicBezTo>
                  <a:pt x="10450272" y="3556571"/>
                  <a:pt x="10245924" y="4011397"/>
                  <a:pt x="9917679" y="4339257"/>
                </a:cubicBezTo>
                <a:cubicBezTo>
                  <a:pt x="10101110" y="4522473"/>
                  <a:pt x="10101110" y="4522473"/>
                  <a:pt x="10101110" y="4522473"/>
                </a:cubicBezTo>
                <a:cubicBezTo>
                  <a:pt x="10476017" y="4146398"/>
                  <a:pt x="10709328" y="3628893"/>
                  <a:pt x="10709328" y="3056745"/>
                </a:cubicBezTo>
                <a:cubicBezTo>
                  <a:pt x="10709328" y="2482989"/>
                  <a:pt x="10476017" y="1965484"/>
                  <a:pt x="10101110" y="1589409"/>
                </a:cubicBezTo>
                <a:close/>
                <a:moveTo>
                  <a:pt x="0" y="0"/>
                </a:moveTo>
                <a:lnTo>
                  <a:pt x="12070800" y="0"/>
                </a:lnTo>
                <a:lnTo>
                  <a:pt x="12070800" y="6854904"/>
                </a:lnTo>
                <a:lnTo>
                  <a:pt x="0" y="685490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GB"/>
              <a:t>Add pictur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A4ED5BF-7EB8-4EC5-97EE-F65C915039C3}"/>
              </a:ext>
            </a:extLst>
          </p:cNvPr>
          <p:cNvGrpSpPr/>
          <p:nvPr userDrawn="1"/>
        </p:nvGrpSpPr>
        <p:grpSpPr>
          <a:xfrm>
            <a:off x="12073965" y="-3096"/>
            <a:ext cx="127000" cy="6858000"/>
            <a:chOff x="12073965" y="-3096"/>
            <a:chExt cx="127000" cy="6096000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67036EB-7B3E-4BA9-80DC-D87D258C3E99}"/>
                </a:ext>
              </a:extLst>
            </p:cNvPr>
            <p:cNvSpPr/>
            <p:nvPr/>
          </p:nvSpPr>
          <p:spPr>
            <a:xfrm>
              <a:off x="12073965" y="-3096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500D2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7A1B4FD-4C7F-4E46-B685-E60BC659DF85}"/>
                </a:ext>
              </a:extLst>
            </p:cNvPr>
            <p:cNvSpPr/>
            <p:nvPr/>
          </p:nvSpPr>
          <p:spPr>
            <a:xfrm>
              <a:off x="12073965" y="758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96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8405322-542C-4EFC-AC06-DA5B6E83A73F}"/>
                </a:ext>
              </a:extLst>
            </p:cNvPr>
            <p:cNvSpPr/>
            <p:nvPr/>
          </p:nvSpPr>
          <p:spPr>
            <a:xfrm>
              <a:off x="12073965" y="377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650E35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471476F-91BA-4FE8-89DB-FF8C314A73F7}"/>
                </a:ext>
              </a:extLst>
            </p:cNvPr>
            <p:cNvSpPr/>
            <p:nvPr/>
          </p:nvSpPr>
          <p:spPr>
            <a:xfrm>
              <a:off x="12073965" y="1139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A183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4F7BFB4-FB5D-4FCB-A390-2C5EED5D825B}"/>
                </a:ext>
              </a:extLst>
            </p:cNvPr>
            <p:cNvSpPr/>
            <p:nvPr/>
          </p:nvSpPr>
          <p:spPr>
            <a:xfrm>
              <a:off x="12073965" y="3044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A183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D8798F9-A4D7-46E5-8469-FCBAB6FDEC8A}"/>
                </a:ext>
              </a:extLst>
            </p:cNvPr>
            <p:cNvSpPr/>
            <p:nvPr/>
          </p:nvSpPr>
          <p:spPr>
            <a:xfrm>
              <a:off x="12073965" y="3806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500D2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F15618D-9000-4671-B100-2EC2F0066113}"/>
                </a:ext>
              </a:extLst>
            </p:cNvPr>
            <p:cNvSpPr/>
            <p:nvPr/>
          </p:nvSpPr>
          <p:spPr>
            <a:xfrm>
              <a:off x="12073965" y="3425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96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026BC31-7F6B-42B4-8174-F3EEE0C8B4F5}"/>
                </a:ext>
              </a:extLst>
            </p:cNvPr>
            <p:cNvSpPr/>
            <p:nvPr/>
          </p:nvSpPr>
          <p:spPr>
            <a:xfrm>
              <a:off x="12073965" y="4187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650E35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A49DCE4-B16E-40C6-A3DC-000BBB4D3C05}"/>
                </a:ext>
              </a:extLst>
            </p:cNvPr>
            <p:cNvSpPr/>
            <p:nvPr/>
          </p:nvSpPr>
          <p:spPr>
            <a:xfrm>
              <a:off x="12073965" y="1520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BE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8D1C917-C802-4EED-AD47-08F839DD725A}"/>
                </a:ext>
              </a:extLst>
            </p:cNvPr>
            <p:cNvSpPr/>
            <p:nvPr/>
          </p:nvSpPr>
          <p:spPr>
            <a:xfrm>
              <a:off x="12073965" y="2282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F7721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A5714DA-FAEB-49F5-BCBE-9A852BDA8CB6}"/>
                </a:ext>
              </a:extLst>
            </p:cNvPr>
            <p:cNvSpPr/>
            <p:nvPr/>
          </p:nvSpPr>
          <p:spPr>
            <a:xfrm>
              <a:off x="12073965" y="1901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DC0A34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E8673559-2CA6-4000-A87F-9DD2D72C273B}"/>
                </a:ext>
              </a:extLst>
            </p:cNvPr>
            <p:cNvSpPr/>
            <p:nvPr/>
          </p:nvSpPr>
          <p:spPr>
            <a:xfrm>
              <a:off x="12073965" y="2663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A5728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1391F0C-B742-4AC8-B2CE-DACBEB917EA0}"/>
                </a:ext>
              </a:extLst>
            </p:cNvPr>
            <p:cNvSpPr/>
            <p:nvPr/>
          </p:nvSpPr>
          <p:spPr>
            <a:xfrm>
              <a:off x="12073965" y="4568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88133E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0CFA9B7-F3C1-4749-BF65-DCE9933C8F9C}"/>
                </a:ext>
              </a:extLst>
            </p:cNvPr>
            <p:cNvSpPr/>
            <p:nvPr/>
          </p:nvSpPr>
          <p:spPr>
            <a:xfrm>
              <a:off x="12073965" y="5330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8365C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7DA94CA-49F5-420E-9F19-AC9F64844EE2}"/>
                </a:ext>
              </a:extLst>
            </p:cNvPr>
            <p:cNvSpPr/>
            <p:nvPr/>
          </p:nvSpPr>
          <p:spPr>
            <a:xfrm>
              <a:off x="12073965" y="4949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F184C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F87225A-8FB8-4D9E-914E-C6307806550B}"/>
                </a:ext>
              </a:extLst>
            </p:cNvPr>
            <p:cNvSpPr/>
            <p:nvPr/>
          </p:nvSpPr>
          <p:spPr>
            <a:xfrm>
              <a:off x="12073965" y="5711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B5A7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341439"/>
            <a:ext cx="5552892" cy="174511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104479"/>
            <a:ext cx="5552892" cy="7324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19163576-E8E1-4806-B23A-BE97EF09C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61769" y="2169251"/>
            <a:ext cx="2519362" cy="159591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152838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_#_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4823013"/>
            <a:ext cx="7041033" cy="50789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2800" b="1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5348835"/>
            <a:ext cx="7041033" cy="2810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E489B54B-7193-4CFC-A69B-CC135969E1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60294" t="22177" r="9338" b="33379"/>
          <a:stretch/>
        </p:blipFill>
        <p:spPr>
          <a:xfrm>
            <a:off x="1165412" y="911224"/>
            <a:ext cx="3702423" cy="3048080"/>
          </a:xfrm>
          <a:prstGeom prst="rect">
            <a:avLst/>
          </a:prstGeom>
        </p:spPr>
      </p:pic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19163576-E8E1-4806-B23A-BE97EF09C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76121" y="1559650"/>
            <a:ext cx="2519362" cy="159591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16267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yellow_#_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99784982-D915-4281-8B9B-A7D6715DBB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7317" y="738370"/>
            <a:ext cx="4965239" cy="3439487"/>
          </a:xfrm>
          <a:prstGeom prst="rect">
            <a:avLst/>
          </a:prstGeom>
          <a:noFill/>
        </p:spPr>
      </p:pic>
      <p:sp>
        <p:nvSpPr>
          <p:cNvPr id="28" name="Text Placeholder 40">
            <a:extLst>
              <a:ext uri="{FF2B5EF4-FFF2-40B4-BE49-F238E27FC236}">
                <a16:creationId xmlns:a16="http://schemas.microsoft.com/office/drawing/2014/main" id="{DA78036A-3996-49A3-A390-73E198A66E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71984" y="1559956"/>
            <a:ext cx="2519362" cy="159591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4823013"/>
            <a:ext cx="7041033" cy="50789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28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5348835"/>
            <a:ext cx="7041033" cy="2810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16754804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8E95937-F466-4F58-B582-8721D3C9D23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7" y="1449388"/>
            <a:ext cx="11337925" cy="467994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20000"/>
              </a:lnSpc>
              <a:spcAft>
                <a:spcPts val="450"/>
              </a:spcAft>
              <a:defRPr lang="en-US" sz="1200" dirty="0" smtClean="0"/>
            </a:lvl1pPr>
            <a:lvl2pPr>
              <a:lnSpc>
                <a:spcPct val="120000"/>
              </a:lnSpc>
              <a:spcAft>
                <a:spcPts val="450"/>
              </a:spcAft>
              <a:defRPr lang="en-US" sz="1200" dirty="0" smtClean="0"/>
            </a:lvl2pPr>
            <a:lvl3pPr>
              <a:lnSpc>
                <a:spcPct val="120000"/>
              </a:lnSpc>
              <a:spcAft>
                <a:spcPts val="450"/>
              </a:spcAft>
              <a:defRPr lang="en-US" sz="1200" dirty="0" smtClean="0"/>
            </a:lvl3pPr>
            <a:lvl4pPr>
              <a:lnSpc>
                <a:spcPct val="120000"/>
              </a:lnSpc>
              <a:spcAft>
                <a:spcPts val="450"/>
              </a:spcAft>
              <a:defRPr lang="en-US" sz="1200" dirty="0" smtClean="0"/>
            </a:lvl4pPr>
            <a:lvl5pPr>
              <a:lnSpc>
                <a:spcPct val="120000"/>
              </a:lnSpc>
              <a:spcAft>
                <a:spcPts val="450"/>
              </a:spcAft>
              <a:defRPr lang="en-GB" sz="1200" dirty="0"/>
            </a:lvl5pPr>
          </a:lstStyle>
          <a:p>
            <a:pPr lvl="0"/>
            <a:r>
              <a:rPr lang="en-US"/>
              <a:t>Add first level body cop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34484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ange_#_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99784982-D915-4281-8B9B-A7D6715DBB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7317" y="738370"/>
            <a:ext cx="4965239" cy="3439487"/>
          </a:xfrm>
          <a:prstGeom prst="rect">
            <a:avLst/>
          </a:prstGeom>
          <a:noFill/>
        </p:spPr>
      </p:pic>
      <p:sp>
        <p:nvSpPr>
          <p:cNvPr id="28" name="Text Placeholder 40">
            <a:extLst>
              <a:ext uri="{FF2B5EF4-FFF2-40B4-BE49-F238E27FC236}">
                <a16:creationId xmlns:a16="http://schemas.microsoft.com/office/drawing/2014/main" id="{DA78036A-3996-49A3-A390-73E198A66E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71984" y="1559956"/>
            <a:ext cx="2519362" cy="159591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4823013"/>
            <a:ext cx="7041033" cy="50789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28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5348835"/>
            <a:ext cx="7041033" cy="2810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3238541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ink_#_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99784982-D915-4281-8B9B-A7D6715DBB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7317" y="738370"/>
            <a:ext cx="4965239" cy="3439487"/>
          </a:xfrm>
          <a:prstGeom prst="rect">
            <a:avLst/>
          </a:prstGeom>
          <a:noFill/>
        </p:spPr>
      </p:pic>
      <p:sp>
        <p:nvSpPr>
          <p:cNvPr id="28" name="Text Placeholder 40">
            <a:extLst>
              <a:ext uri="{FF2B5EF4-FFF2-40B4-BE49-F238E27FC236}">
                <a16:creationId xmlns:a16="http://schemas.microsoft.com/office/drawing/2014/main" id="{DA78036A-3996-49A3-A390-73E198A66E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71984" y="1559956"/>
            <a:ext cx="2519362" cy="159591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4823013"/>
            <a:ext cx="7041033" cy="50789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28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5348835"/>
            <a:ext cx="7041033" cy="2810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18525531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um_#_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99784982-D915-4281-8B9B-A7D6715DBB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7317" y="738370"/>
            <a:ext cx="4965239" cy="3439487"/>
          </a:xfrm>
          <a:prstGeom prst="rect">
            <a:avLst/>
          </a:prstGeom>
          <a:noFill/>
        </p:spPr>
      </p:pic>
      <p:sp>
        <p:nvSpPr>
          <p:cNvPr id="28" name="Text Placeholder 40">
            <a:extLst>
              <a:ext uri="{FF2B5EF4-FFF2-40B4-BE49-F238E27FC236}">
                <a16:creationId xmlns:a16="http://schemas.microsoft.com/office/drawing/2014/main" id="{DA78036A-3996-49A3-A390-73E198A66E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71984" y="1559956"/>
            <a:ext cx="2519362" cy="159591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4823013"/>
            <a:ext cx="7041033" cy="50789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28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5348835"/>
            <a:ext cx="7041033" cy="2810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8448569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ark plum_#_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99784982-D915-4281-8B9B-A7D6715DBB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7317" y="738370"/>
            <a:ext cx="4965239" cy="3439487"/>
          </a:xfrm>
          <a:prstGeom prst="rect">
            <a:avLst/>
          </a:prstGeom>
          <a:noFill/>
        </p:spPr>
      </p:pic>
      <p:sp>
        <p:nvSpPr>
          <p:cNvPr id="28" name="Text Placeholder 40">
            <a:extLst>
              <a:ext uri="{FF2B5EF4-FFF2-40B4-BE49-F238E27FC236}">
                <a16:creationId xmlns:a16="http://schemas.microsoft.com/office/drawing/2014/main" id="{DA78036A-3996-49A3-A390-73E198A66E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71984" y="1559956"/>
            <a:ext cx="2519362" cy="159591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4823013"/>
            <a:ext cx="7041033" cy="50789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28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5348835"/>
            <a:ext cx="7041033" cy="2810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401362435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_#_2">
    <p:bg>
      <p:bgPr>
        <a:solidFill>
          <a:schemeClr val="tx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99784982-D915-4281-8B9B-A7D6715DBB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7317" y="738370"/>
            <a:ext cx="4965239" cy="3439487"/>
          </a:xfrm>
          <a:prstGeom prst="rect">
            <a:avLst/>
          </a:prstGeom>
          <a:noFill/>
        </p:spPr>
      </p:pic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AD48ED69-054E-4E64-B267-2B43A161B31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070800" cy="6854904"/>
          </a:xfrm>
          <a:custGeom>
            <a:avLst/>
            <a:gdLst>
              <a:gd name="connsiteX0" fmla="*/ 1542759 w 12070800"/>
              <a:gd name="connsiteY0" fmla="*/ 1568941 h 6854904"/>
              <a:gd name="connsiteX1" fmla="*/ 1347600 w 12070800"/>
              <a:gd name="connsiteY1" fmla="*/ 2444950 h 6854904"/>
              <a:gd name="connsiteX2" fmla="*/ 1542759 w 12070800"/>
              <a:gd name="connsiteY2" fmla="*/ 3322566 h 6854904"/>
              <a:gd name="connsiteX3" fmla="*/ 1778240 w 12070800"/>
              <a:gd name="connsiteY3" fmla="*/ 3213266 h 6854904"/>
              <a:gd name="connsiteX4" fmla="*/ 1608888 w 12070800"/>
              <a:gd name="connsiteY4" fmla="*/ 2444950 h 6854904"/>
              <a:gd name="connsiteX5" fmla="*/ 1778240 w 12070800"/>
              <a:gd name="connsiteY5" fmla="*/ 1678241 h 6854904"/>
              <a:gd name="connsiteX6" fmla="*/ 1542759 w 12070800"/>
              <a:gd name="connsiteY6" fmla="*/ 1568941 h 6854904"/>
              <a:gd name="connsiteX7" fmla="*/ 3909833 w 12070800"/>
              <a:gd name="connsiteY7" fmla="*/ 978686 h 6854904"/>
              <a:gd name="connsiteX8" fmla="*/ 3726402 w 12070800"/>
              <a:gd name="connsiteY8" fmla="*/ 1161902 h 6854904"/>
              <a:gd name="connsiteX9" fmla="*/ 4258996 w 12070800"/>
              <a:gd name="connsiteY9" fmla="*/ 2446022 h 6854904"/>
              <a:gd name="connsiteX10" fmla="*/ 3726402 w 12070800"/>
              <a:gd name="connsiteY10" fmla="*/ 3728534 h 6854904"/>
              <a:gd name="connsiteX11" fmla="*/ 3909833 w 12070800"/>
              <a:gd name="connsiteY11" fmla="*/ 3911750 h 6854904"/>
              <a:gd name="connsiteX12" fmla="*/ 4518051 w 12070800"/>
              <a:gd name="connsiteY12" fmla="*/ 2446022 h 6854904"/>
              <a:gd name="connsiteX13" fmla="*/ 3909833 w 12070800"/>
              <a:gd name="connsiteY13" fmla="*/ 978686 h 6854904"/>
              <a:gd name="connsiteX14" fmla="*/ 0 w 12070800"/>
              <a:gd name="connsiteY14" fmla="*/ 0 h 6854904"/>
              <a:gd name="connsiteX15" fmla="*/ 12070800 w 12070800"/>
              <a:gd name="connsiteY15" fmla="*/ 0 h 6854904"/>
              <a:gd name="connsiteX16" fmla="*/ 12070800 w 12070800"/>
              <a:gd name="connsiteY16" fmla="*/ 6854904 h 6854904"/>
              <a:gd name="connsiteX17" fmla="*/ 0 w 12070800"/>
              <a:gd name="connsiteY17" fmla="*/ 6854904 h 6854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2070800" h="6854904">
                <a:moveTo>
                  <a:pt x="1542759" y="1568941"/>
                </a:moveTo>
                <a:cubicBezTo>
                  <a:pt x="1418567" y="1834155"/>
                  <a:pt x="1347600" y="2131516"/>
                  <a:pt x="1347600" y="2444950"/>
                </a:cubicBezTo>
                <a:cubicBezTo>
                  <a:pt x="1347600" y="2758384"/>
                  <a:pt x="1418567" y="3055745"/>
                  <a:pt x="1542759" y="3322566"/>
                </a:cubicBezTo>
                <a:cubicBezTo>
                  <a:pt x="1778240" y="3213266"/>
                  <a:pt x="1778240" y="3213266"/>
                  <a:pt x="1778240" y="3213266"/>
                </a:cubicBezTo>
                <a:cubicBezTo>
                  <a:pt x="1670177" y="2980200"/>
                  <a:pt x="1608888" y="2719808"/>
                  <a:pt x="1608888" y="2444950"/>
                </a:cubicBezTo>
                <a:cubicBezTo>
                  <a:pt x="1608888" y="2171700"/>
                  <a:pt x="1670177" y="1911308"/>
                  <a:pt x="1778240" y="1678241"/>
                </a:cubicBezTo>
                <a:cubicBezTo>
                  <a:pt x="1542759" y="1568941"/>
                  <a:pt x="1542759" y="1568941"/>
                  <a:pt x="1542759" y="1568941"/>
                </a:cubicBezTo>
                <a:close/>
                <a:moveTo>
                  <a:pt x="3909833" y="978686"/>
                </a:moveTo>
                <a:cubicBezTo>
                  <a:pt x="3726402" y="1161902"/>
                  <a:pt x="3726402" y="1161902"/>
                  <a:pt x="3726402" y="1161902"/>
                </a:cubicBezTo>
                <a:cubicBezTo>
                  <a:pt x="4054647" y="1489762"/>
                  <a:pt x="4258996" y="1944588"/>
                  <a:pt x="4258996" y="2446022"/>
                </a:cubicBezTo>
                <a:cubicBezTo>
                  <a:pt x="4258996" y="2945848"/>
                  <a:pt x="4054647" y="3400674"/>
                  <a:pt x="3726402" y="3728534"/>
                </a:cubicBezTo>
                <a:cubicBezTo>
                  <a:pt x="3909833" y="3911750"/>
                  <a:pt x="3909833" y="3911750"/>
                  <a:pt x="3909833" y="3911750"/>
                </a:cubicBezTo>
                <a:cubicBezTo>
                  <a:pt x="4284741" y="3535675"/>
                  <a:pt x="4518051" y="3018170"/>
                  <a:pt x="4518051" y="2446022"/>
                </a:cubicBezTo>
                <a:cubicBezTo>
                  <a:pt x="4518051" y="1872266"/>
                  <a:pt x="4284741" y="1354761"/>
                  <a:pt x="3909833" y="978686"/>
                </a:cubicBezTo>
                <a:close/>
                <a:moveTo>
                  <a:pt x="0" y="0"/>
                </a:moveTo>
                <a:lnTo>
                  <a:pt x="12070800" y="0"/>
                </a:lnTo>
                <a:lnTo>
                  <a:pt x="12070800" y="6854904"/>
                </a:lnTo>
                <a:lnTo>
                  <a:pt x="0" y="685490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GB"/>
              <a:t>Add pictur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4060F2A-46C7-403A-A359-4B3F6A8AE7F3}"/>
              </a:ext>
            </a:extLst>
          </p:cNvPr>
          <p:cNvGrpSpPr/>
          <p:nvPr userDrawn="1"/>
        </p:nvGrpSpPr>
        <p:grpSpPr>
          <a:xfrm>
            <a:off x="12073965" y="-3096"/>
            <a:ext cx="127000" cy="6858000"/>
            <a:chOff x="12073965" y="-3096"/>
            <a:chExt cx="127000" cy="609600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2894A61-8914-4459-8994-90AB18628735}"/>
                </a:ext>
              </a:extLst>
            </p:cNvPr>
            <p:cNvSpPr/>
            <p:nvPr/>
          </p:nvSpPr>
          <p:spPr>
            <a:xfrm>
              <a:off x="12073965" y="-3096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500D2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19F7D1D-310F-49AA-BABD-2AF3BF8A24A3}"/>
                </a:ext>
              </a:extLst>
            </p:cNvPr>
            <p:cNvSpPr/>
            <p:nvPr/>
          </p:nvSpPr>
          <p:spPr>
            <a:xfrm>
              <a:off x="12073965" y="758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96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115ACCCA-7C37-4BF1-92BE-C575516204DA}"/>
                </a:ext>
              </a:extLst>
            </p:cNvPr>
            <p:cNvSpPr/>
            <p:nvPr/>
          </p:nvSpPr>
          <p:spPr>
            <a:xfrm>
              <a:off x="12073965" y="377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650E35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9CF9EBE-5985-4567-9479-F27EE95DBFBC}"/>
                </a:ext>
              </a:extLst>
            </p:cNvPr>
            <p:cNvSpPr/>
            <p:nvPr/>
          </p:nvSpPr>
          <p:spPr>
            <a:xfrm>
              <a:off x="12073965" y="1139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A183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EF7FBEC-5DC3-4F1F-83F6-B3BCA78DF5C0}"/>
                </a:ext>
              </a:extLst>
            </p:cNvPr>
            <p:cNvSpPr/>
            <p:nvPr/>
          </p:nvSpPr>
          <p:spPr>
            <a:xfrm>
              <a:off x="12073965" y="3044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A183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866F78D-B12A-432C-90E3-A45779497EFF}"/>
                </a:ext>
              </a:extLst>
            </p:cNvPr>
            <p:cNvSpPr/>
            <p:nvPr/>
          </p:nvSpPr>
          <p:spPr>
            <a:xfrm>
              <a:off x="12073965" y="3806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500D2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B64B567-A23F-4B4B-AC47-253C48F01104}"/>
                </a:ext>
              </a:extLst>
            </p:cNvPr>
            <p:cNvSpPr/>
            <p:nvPr/>
          </p:nvSpPr>
          <p:spPr>
            <a:xfrm>
              <a:off x="12073965" y="3425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96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3F18456-903A-4121-9765-44B8D20DC8B5}"/>
                </a:ext>
              </a:extLst>
            </p:cNvPr>
            <p:cNvSpPr/>
            <p:nvPr/>
          </p:nvSpPr>
          <p:spPr>
            <a:xfrm>
              <a:off x="12073965" y="4187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650E35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703043E-0C56-4BD5-B4CD-CEBFF40EC2C3}"/>
                </a:ext>
              </a:extLst>
            </p:cNvPr>
            <p:cNvSpPr/>
            <p:nvPr/>
          </p:nvSpPr>
          <p:spPr>
            <a:xfrm>
              <a:off x="12073965" y="1520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BE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5725795-A5FD-4392-9BC1-77E52C9AC664}"/>
                </a:ext>
              </a:extLst>
            </p:cNvPr>
            <p:cNvSpPr/>
            <p:nvPr/>
          </p:nvSpPr>
          <p:spPr>
            <a:xfrm>
              <a:off x="12073965" y="2282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F7721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A35CBC5-297A-459D-8030-D01E556589FC}"/>
                </a:ext>
              </a:extLst>
            </p:cNvPr>
            <p:cNvSpPr/>
            <p:nvPr/>
          </p:nvSpPr>
          <p:spPr>
            <a:xfrm>
              <a:off x="12073965" y="1901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DC0A34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5981167-9A61-4D35-951E-991CA7C63524}"/>
                </a:ext>
              </a:extLst>
            </p:cNvPr>
            <p:cNvSpPr/>
            <p:nvPr/>
          </p:nvSpPr>
          <p:spPr>
            <a:xfrm>
              <a:off x="12073965" y="2663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A5728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03B678D-1D82-45AB-9529-D0FE580ADAF1}"/>
                </a:ext>
              </a:extLst>
            </p:cNvPr>
            <p:cNvSpPr/>
            <p:nvPr/>
          </p:nvSpPr>
          <p:spPr>
            <a:xfrm>
              <a:off x="12073965" y="4568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88133E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619D972-94F0-4D20-AEE3-4F7DBB279550}"/>
                </a:ext>
              </a:extLst>
            </p:cNvPr>
            <p:cNvSpPr/>
            <p:nvPr/>
          </p:nvSpPr>
          <p:spPr>
            <a:xfrm>
              <a:off x="12073965" y="5330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8365C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0D15ACB-E68F-448C-A65B-3DAB528AD7B3}"/>
                </a:ext>
              </a:extLst>
            </p:cNvPr>
            <p:cNvSpPr/>
            <p:nvPr/>
          </p:nvSpPr>
          <p:spPr>
            <a:xfrm>
              <a:off x="12073965" y="4949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F184C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56D057F-03D6-4CDD-89FD-D41FF893DADE}"/>
                </a:ext>
              </a:extLst>
            </p:cNvPr>
            <p:cNvSpPr/>
            <p:nvPr/>
          </p:nvSpPr>
          <p:spPr>
            <a:xfrm>
              <a:off x="12073965" y="5711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B5A7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sp>
        <p:nvSpPr>
          <p:cNvPr id="28" name="Text Placeholder 40">
            <a:extLst>
              <a:ext uri="{FF2B5EF4-FFF2-40B4-BE49-F238E27FC236}">
                <a16:creationId xmlns:a16="http://schemas.microsoft.com/office/drawing/2014/main" id="{DA78036A-3996-49A3-A390-73E198A66E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71984" y="1559956"/>
            <a:ext cx="2519362" cy="159591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4823013"/>
            <a:ext cx="7041033" cy="50789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28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5348835"/>
            <a:ext cx="7041033" cy="2810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26725719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791349"/>
            <a:ext cx="5552892" cy="174511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4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554389"/>
            <a:ext cx="5552892" cy="7324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37676392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791349"/>
            <a:ext cx="5552892" cy="174511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554389"/>
            <a:ext cx="5552892" cy="7324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137204106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yellow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791349"/>
            <a:ext cx="5552892" cy="174511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554389"/>
            <a:ext cx="5552892" cy="7324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179898069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an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791349"/>
            <a:ext cx="5552892" cy="174511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554389"/>
            <a:ext cx="5552892" cy="7324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183980472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in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791349"/>
            <a:ext cx="5552892" cy="174511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554389"/>
            <a:ext cx="5552892" cy="7324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5218742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40751D7-21B4-427C-964E-AC2C0CD87B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8576" y="1520826"/>
            <a:ext cx="3894851" cy="3810079"/>
          </a:xfrm>
          <a:prstGeom prst="rect">
            <a:avLst/>
          </a:prstGeom>
        </p:spPr>
      </p:pic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75165ABD-DA59-43E8-B75E-7DAD514349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8" y="6129339"/>
            <a:ext cx="7166539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</p:spTree>
    <p:extLst>
      <p:ext uri="{BB962C8B-B14F-4D97-AF65-F5344CB8AC3E}">
        <p14:creationId xmlns:p14="http://schemas.microsoft.com/office/powerpoint/2010/main" val="223128853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um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791349"/>
            <a:ext cx="5552892" cy="174511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554389"/>
            <a:ext cx="5552892" cy="7324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201764594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ark plum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791349"/>
            <a:ext cx="5552892" cy="174511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554389"/>
            <a:ext cx="5552892" cy="7324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F0BBB6B-44CC-4E98-BE0F-71A3D8455335}"/>
              </a:ext>
            </a:extLst>
          </p:cNvPr>
          <p:cNvGrpSpPr/>
          <p:nvPr userDrawn="1"/>
        </p:nvGrpSpPr>
        <p:grpSpPr>
          <a:xfrm>
            <a:off x="12073965" y="-3096"/>
            <a:ext cx="127000" cy="6858000"/>
            <a:chOff x="12061904" y="-3096"/>
            <a:chExt cx="127000" cy="6858000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A7F4D043-1FE5-4ED9-9932-3CEED06E6E97}"/>
                </a:ext>
              </a:extLst>
            </p:cNvPr>
            <p:cNvSpPr/>
            <p:nvPr/>
          </p:nvSpPr>
          <p:spPr>
            <a:xfrm>
              <a:off x="12061904" y="-3096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500D2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99CF8AB0-367A-401F-B098-7A0A7413D4E4}"/>
                </a:ext>
              </a:extLst>
            </p:cNvPr>
            <p:cNvSpPr/>
            <p:nvPr/>
          </p:nvSpPr>
          <p:spPr>
            <a:xfrm>
              <a:off x="12061904" y="758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96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C408E18-984C-416C-B657-99E4A61B9D8A}"/>
                </a:ext>
              </a:extLst>
            </p:cNvPr>
            <p:cNvSpPr/>
            <p:nvPr/>
          </p:nvSpPr>
          <p:spPr>
            <a:xfrm>
              <a:off x="12061904" y="377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650E35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B07E4C3-8213-49FF-B059-2AD5E0D213F1}"/>
                </a:ext>
              </a:extLst>
            </p:cNvPr>
            <p:cNvSpPr/>
            <p:nvPr/>
          </p:nvSpPr>
          <p:spPr>
            <a:xfrm>
              <a:off x="12061904" y="1139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A183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F29EFF2-F833-4CD2-8D64-9B9F79A3E72A}"/>
                </a:ext>
              </a:extLst>
            </p:cNvPr>
            <p:cNvSpPr/>
            <p:nvPr/>
          </p:nvSpPr>
          <p:spPr>
            <a:xfrm>
              <a:off x="12061904" y="3044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A183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0A60626-F264-4A07-8AEA-1B531EA93739}"/>
                </a:ext>
              </a:extLst>
            </p:cNvPr>
            <p:cNvSpPr/>
            <p:nvPr/>
          </p:nvSpPr>
          <p:spPr>
            <a:xfrm>
              <a:off x="12061904" y="3806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500D2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6062C71-59DE-4B7C-8CDA-75A52C6715CC}"/>
                </a:ext>
              </a:extLst>
            </p:cNvPr>
            <p:cNvSpPr/>
            <p:nvPr/>
          </p:nvSpPr>
          <p:spPr>
            <a:xfrm>
              <a:off x="12061904" y="3425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96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D3BFF26-ACF4-4536-BB0A-04020518E929}"/>
                </a:ext>
              </a:extLst>
            </p:cNvPr>
            <p:cNvSpPr/>
            <p:nvPr/>
          </p:nvSpPr>
          <p:spPr>
            <a:xfrm>
              <a:off x="12061904" y="4187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650E35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C25D427-E911-4D63-9695-D7CB94E38D8D}"/>
                </a:ext>
              </a:extLst>
            </p:cNvPr>
            <p:cNvSpPr/>
            <p:nvPr/>
          </p:nvSpPr>
          <p:spPr>
            <a:xfrm>
              <a:off x="12061904" y="1520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BE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14425B1-15FF-4367-B235-AF4B487E6454}"/>
                </a:ext>
              </a:extLst>
            </p:cNvPr>
            <p:cNvSpPr/>
            <p:nvPr/>
          </p:nvSpPr>
          <p:spPr>
            <a:xfrm>
              <a:off x="12061904" y="2282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F7721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A2E21AC-1D97-4320-B403-CEC21CCBCC89}"/>
                </a:ext>
              </a:extLst>
            </p:cNvPr>
            <p:cNvSpPr/>
            <p:nvPr/>
          </p:nvSpPr>
          <p:spPr>
            <a:xfrm>
              <a:off x="12061904" y="1901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DC0A34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DDA2300-9120-4B99-9C1A-6EB500012861}"/>
                </a:ext>
              </a:extLst>
            </p:cNvPr>
            <p:cNvSpPr/>
            <p:nvPr/>
          </p:nvSpPr>
          <p:spPr>
            <a:xfrm>
              <a:off x="12061904" y="2663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A5728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CBD1235-7E1C-41DC-A47C-34E6C75ABCB8}"/>
                </a:ext>
              </a:extLst>
            </p:cNvPr>
            <p:cNvSpPr/>
            <p:nvPr/>
          </p:nvSpPr>
          <p:spPr>
            <a:xfrm>
              <a:off x="12061904" y="4568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88133E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6ADC9D7-9A83-40C0-894F-363AACBDE232}"/>
                </a:ext>
              </a:extLst>
            </p:cNvPr>
            <p:cNvSpPr/>
            <p:nvPr/>
          </p:nvSpPr>
          <p:spPr>
            <a:xfrm>
              <a:off x="12061904" y="5330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8365C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C7991A2-0FD4-445F-9A6A-E9C09D9AF1FD}"/>
                </a:ext>
              </a:extLst>
            </p:cNvPr>
            <p:cNvSpPr/>
            <p:nvPr/>
          </p:nvSpPr>
          <p:spPr>
            <a:xfrm>
              <a:off x="12061904" y="4949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F184C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CAEAAE3-6C13-42F0-AA1C-DB5A8EB2C8CD}"/>
                </a:ext>
              </a:extLst>
            </p:cNvPr>
            <p:cNvSpPr/>
            <p:nvPr/>
          </p:nvSpPr>
          <p:spPr>
            <a:xfrm>
              <a:off x="12061904" y="5711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B5A7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E373FE7-DCCD-4300-B608-563FB652E79D}"/>
                </a:ext>
              </a:extLst>
            </p:cNvPr>
            <p:cNvSpPr/>
            <p:nvPr/>
          </p:nvSpPr>
          <p:spPr>
            <a:xfrm>
              <a:off x="12061904" y="6092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FFFFFF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2108C68-A045-4F94-B6AB-F6908FC28282}"/>
                </a:ext>
              </a:extLst>
            </p:cNvPr>
            <p:cNvSpPr/>
            <p:nvPr/>
          </p:nvSpPr>
          <p:spPr>
            <a:xfrm>
              <a:off x="12061904" y="6473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5B4C4C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982813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3920D82-30E1-4F56-A3B9-79F12E92EFE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070800" cy="6854904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545ECA-5688-4A89-8C9A-A9AB33D21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23038" y="1791349"/>
            <a:ext cx="5552892" cy="174511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divider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A7393E-2763-4FDE-8C90-450871B71F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23038" y="3554389"/>
            <a:ext cx="5552892" cy="7324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Add sub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147C73E-190D-4C45-BAED-91EBBDBAC385}"/>
              </a:ext>
            </a:extLst>
          </p:cNvPr>
          <p:cNvGrpSpPr/>
          <p:nvPr userDrawn="1"/>
        </p:nvGrpSpPr>
        <p:grpSpPr>
          <a:xfrm>
            <a:off x="12073965" y="-3096"/>
            <a:ext cx="127000" cy="6858000"/>
            <a:chOff x="12073965" y="-3096"/>
            <a:chExt cx="127000" cy="6096000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F89B5E4D-233E-417D-B610-5B257689A98A}"/>
                </a:ext>
              </a:extLst>
            </p:cNvPr>
            <p:cNvSpPr/>
            <p:nvPr/>
          </p:nvSpPr>
          <p:spPr>
            <a:xfrm>
              <a:off x="12073965" y="-3096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500D2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A44675D-62F2-498C-9473-818719D40EEA}"/>
                </a:ext>
              </a:extLst>
            </p:cNvPr>
            <p:cNvSpPr/>
            <p:nvPr/>
          </p:nvSpPr>
          <p:spPr>
            <a:xfrm>
              <a:off x="12073965" y="758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96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7B15CF8-7D63-4C50-919B-420173C6E79D}"/>
                </a:ext>
              </a:extLst>
            </p:cNvPr>
            <p:cNvSpPr/>
            <p:nvPr/>
          </p:nvSpPr>
          <p:spPr>
            <a:xfrm>
              <a:off x="12073965" y="377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650E35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4AB5FDE3-7BB3-45A6-9F4E-B8BFA7588B99}"/>
                </a:ext>
              </a:extLst>
            </p:cNvPr>
            <p:cNvSpPr/>
            <p:nvPr/>
          </p:nvSpPr>
          <p:spPr>
            <a:xfrm>
              <a:off x="12073965" y="1139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A183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E6AF2CFF-FE15-47C6-BF55-1AD8CAD388E0}"/>
                </a:ext>
              </a:extLst>
            </p:cNvPr>
            <p:cNvSpPr/>
            <p:nvPr/>
          </p:nvSpPr>
          <p:spPr>
            <a:xfrm>
              <a:off x="12073965" y="3044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A183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C2C050D-ED8C-45B0-855C-B7985E907AF8}"/>
                </a:ext>
              </a:extLst>
            </p:cNvPr>
            <p:cNvSpPr/>
            <p:nvPr/>
          </p:nvSpPr>
          <p:spPr>
            <a:xfrm>
              <a:off x="12073965" y="3806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500D2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E3DE7B2-6CF7-4E27-95A1-8930641464CC}"/>
                </a:ext>
              </a:extLst>
            </p:cNvPr>
            <p:cNvSpPr/>
            <p:nvPr/>
          </p:nvSpPr>
          <p:spPr>
            <a:xfrm>
              <a:off x="12073965" y="3425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96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18942A9A-0128-454E-B716-59E866C26913}"/>
                </a:ext>
              </a:extLst>
            </p:cNvPr>
            <p:cNvSpPr/>
            <p:nvPr/>
          </p:nvSpPr>
          <p:spPr>
            <a:xfrm>
              <a:off x="12073965" y="4187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650E35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1A5D6D9-69DE-4419-BDEF-923C6B51FAEC}"/>
                </a:ext>
              </a:extLst>
            </p:cNvPr>
            <p:cNvSpPr/>
            <p:nvPr/>
          </p:nvSpPr>
          <p:spPr>
            <a:xfrm>
              <a:off x="12073965" y="1520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BE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1CD6207-5BE4-4F9D-88FE-1DDD8A1EB5C5}"/>
                </a:ext>
              </a:extLst>
            </p:cNvPr>
            <p:cNvSpPr/>
            <p:nvPr/>
          </p:nvSpPr>
          <p:spPr>
            <a:xfrm>
              <a:off x="12073965" y="2282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F7721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5A1567CD-BE2D-4D38-880E-28879A28B040}"/>
                </a:ext>
              </a:extLst>
            </p:cNvPr>
            <p:cNvSpPr/>
            <p:nvPr/>
          </p:nvSpPr>
          <p:spPr>
            <a:xfrm>
              <a:off x="12073965" y="1901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DC0A34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521BA6A-E533-47A0-BB4F-E38B561A8FC1}"/>
                </a:ext>
              </a:extLst>
            </p:cNvPr>
            <p:cNvSpPr/>
            <p:nvPr/>
          </p:nvSpPr>
          <p:spPr>
            <a:xfrm>
              <a:off x="12073965" y="2663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A5728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5F6ECF2-242F-460D-BB2C-3FBF0B3FB5E6}"/>
                </a:ext>
              </a:extLst>
            </p:cNvPr>
            <p:cNvSpPr/>
            <p:nvPr/>
          </p:nvSpPr>
          <p:spPr>
            <a:xfrm>
              <a:off x="12073965" y="4568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88133E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3FA1CC3-BDE0-4D88-92D6-BC5BF7F0AEB8}"/>
                </a:ext>
              </a:extLst>
            </p:cNvPr>
            <p:cNvSpPr/>
            <p:nvPr/>
          </p:nvSpPr>
          <p:spPr>
            <a:xfrm>
              <a:off x="12073965" y="5330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8365C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9A113E5-74E7-4228-9D88-91C2E9424F9C}"/>
                </a:ext>
              </a:extLst>
            </p:cNvPr>
            <p:cNvSpPr/>
            <p:nvPr/>
          </p:nvSpPr>
          <p:spPr>
            <a:xfrm>
              <a:off x="12073965" y="4949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F184C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997116E-FCD7-4077-8176-5F30B39E61C1}"/>
                </a:ext>
              </a:extLst>
            </p:cNvPr>
            <p:cNvSpPr/>
            <p:nvPr/>
          </p:nvSpPr>
          <p:spPr>
            <a:xfrm>
              <a:off x="12073965" y="5711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B5A7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782203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7452024-AB94-4C0E-BCE3-7CD7FB801B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2078" t="18689" r="9535" b="17057"/>
          <a:stretch/>
        </p:blipFill>
        <p:spPr>
          <a:xfrm>
            <a:off x="996696" y="1341438"/>
            <a:ext cx="10415016" cy="4236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25414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675"/>
            <a:ext cx="12067954" cy="6800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5023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7452024-AB94-4C0E-BCE3-7CD7FB801B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2078" t="18689" r="9535" b="17057"/>
          <a:stretch/>
        </p:blipFill>
        <p:spPr>
          <a:xfrm>
            <a:off x="496965" y="1033094"/>
            <a:ext cx="10415016" cy="4236402"/>
          </a:xfrm>
          <a:prstGeom prst="rect">
            <a:avLst/>
          </a:prstGeom>
        </p:spPr>
      </p:pic>
      <p:sp>
        <p:nvSpPr>
          <p:cNvPr id="71" name="Picture Placeholder 70">
            <a:extLst>
              <a:ext uri="{FF2B5EF4-FFF2-40B4-BE49-F238E27FC236}">
                <a16:creationId xmlns:a16="http://schemas.microsoft.com/office/drawing/2014/main" id="{76CBD0D0-7088-4D31-88D7-7616D962CAF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" y="3"/>
            <a:ext cx="12070798" cy="6857999"/>
          </a:xfrm>
          <a:custGeom>
            <a:avLst/>
            <a:gdLst>
              <a:gd name="connsiteX0" fmla="*/ 4491748 w 12070798"/>
              <a:gd name="connsiteY0" fmla="*/ 3650991 h 6857999"/>
              <a:gd name="connsiteX1" fmla="*/ 4491748 w 12070798"/>
              <a:gd name="connsiteY1" fmla="*/ 3827204 h 6857999"/>
              <a:gd name="connsiteX2" fmla="*/ 4379034 w 12070798"/>
              <a:gd name="connsiteY2" fmla="*/ 3841491 h 6857999"/>
              <a:gd name="connsiteX3" fmla="*/ 4239334 w 12070798"/>
              <a:gd name="connsiteY3" fmla="*/ 3749416 h 6857999"/>
              <a:gd name="connsiteX4" fmla="*/ 4361572 w 12070798"/>
              <a:gd name="connsiteY4" fmla="*/ 3660516 h 6857999"/>
              <a:gd name="connsiteX5" fmla="*/ 4491748 w 12070798"/>
              <a:gd name="connsiteY5" fmla="*/ 3650991 h 6857999"/>
              <a:gd name="connsiteX6" fmla="*/ 7923921 w 12070798"/>
              <a:gd name="connsiteY6" fmla="*/ 3370005 h 6857999"/>
              <a:gd name="connsiteX7" fmla="*/ 8082671 w 12070798"/>
              <a:gd name="connsiteY7" fmla="*/ 3605743 h 6857999"/>
              <a:gd name="connsiteX8" fmla="*/ 7923921 w 12070798"/>
              <a:gd name="connsiteY8" fmla="*/ 3838317 h 6857999"/>
              <a:gd name="connsiteX9" fmla="*/ 7766759 w 12070798"/>
              <a:gd name="connsiteY9" fmla="*/ 3605743 h 6857999"/>
              <a:gd name="connsiteX10" fmla="*/ 7923921 w 12070798"/>
              <a:gd name="connsiteY10" fmla="*/ 3370005 h 6857999"/>
              <a:gd name="connsiteX11" fmla="*/ 6777746 w 12070798"/>
              <a:gd name="connsiteY11" fmla="*/ 3230305 h 6857999"/>
              <a:gd name="connsiteX12" fmla="*/ 7019046 w 12070798"/>
              <a:gd name="connsiteY12" fmla="*/ 3978499 h 6857999"/>
              <a:gd name="connsiteX13" fmla="*/ 7098421 w 12070798"/>
              <a:gd name="connsiteY13" fmla="*/ 3978499 h 6857999"/>
              <a:gd name="connsiteX14" fmla="*/ 6934908 w 12070798"/>
              <a:gd name="connsiteY14" fmla="*/ 4138600 h 6857999"/>
              <a:gd name="connsiteX15" fmla="*/ 6769808 w 12070798"/>
              <a:gd name="connsiteY15" fmla="*/ 4105312 h 6857999"/>
              <a:gd name="connsiteX16" fmla="*/ 6790446 w 12070798"/>
              <a:gd name="connsiteY16" fmla="*/ 4281265 h 6857999"/>
              <a:gd name="connsiteX17" fmla="*/ 6974596 w 12070798"/>
              <a:gd name="connsiteY17" fmla="*/ 4305042 h 6857999"/>
              <a:gd name="connsiteX18" fmla="*/ 7276221 w 12070798"/>
              <a:gd name="connsiteY18" fmla="*/ 3992766 h 6857999"/>
              <a:gd name="connsiteX19" fmla="*/ 7525458 w 12070798"/>
              <a:gd name="connsiteY19" fmla="*/ 3230305 h 6857999"/>
              <a:gd name="connsiteX20" fmla="*/ 7333371 w 12070798"/>
              <a:gd name="connsiteY20" fmla="*/ 3230305 h 6857999"/>
              <a:gd name="connsiteX21" fmla="*/ 7157158 w 12070798"/>
              <a:gd name="connsiteY21" fmla="*/ 3791451 h 6857999"/>
              <a:gd name="connsiteX22" fmla="*/ 6987296 w 12070798"/>
              <a:gd name="connsiteY22" fmla="*/ 3230305 h 6857999"/>
              <a:gd name="connsiteX23" fmla="*/ 6777746 w 12070798"/>
              <a:gd name="connsiteY23" fmla="*/ 3230305 h 6857999"/>
              <a:gd name="connsiteX24" fmla="*/ 8620832 w 12070798"/>
              <a:gd name="connsiteY24" fmla="*/ 3219191 h 6857999"/>
              <a:gd name="connsiteX25" fmla="*/ 8416045 w 12070798"/>
              <a:gd name="connsiteY25" fmla="*/ 3242956 h 6857999"/>
              <a:gd name="connsiteX26" fmla="*/ 8416045 w 12070798"/>
              <a:gd name="connsiteY26" fmla="*/ 3705565 h 6857999"/>
              <a:gd name="connsiteX27" fmla="*/ 8736720 w 12070798"/>
              <a:gd name="connsiteY27" fmla="*/ 4000241 h 6857999"/>
              <a:gd name="connsiteX28" fmla="*/ 9079620 w 12070798"/>
              <a:gd name="connsiteY28" fmla="*/ 3946376 h 6857999"/>
              <a:gd name="connsiteX29" fmla="*/ 9079620 w 12070798"/>
              <a:gd name="connsiteY29" fmla="*/ 3219191 h 6857999"/>
              <a:gd name="connsiteX30" fmla="*/ 8873245 w 12070798"/>
              <a:gd name="connsiteY30" fmla="*/ 3242956 h 6857999"/>
              <a:gd name="connsiteX31" fmla="*/ 8873245 w 12070798"/>
              <a:gd name="connsiteY31" fmla="*/ 3818049 h 6857999"/>
              <a:gd name="connsiteX32" fmla="*/ 8760532 w 12070798"/>
              <a:gd name="connsiteY32" fmla="*/ 3832307 h 6857999"/>
              <a:gd name="connsiteX33" fmla="*/ 8620832 w 12070798"/>
              <a:gd name="connsiteY33" fmla="*/ 3675464 h 6857999"/>
              <a:gd name="connsiteX34" fmla="*/ 8620832 w 12070798"/>
              <a:gd name="connsiteY34" fmla="*/ 3219191 h 6857999"/>
              <a:gd name="connsiteX35" fmla="*/ 7923921 w 12070798"/>
              <a:gd name="connsiteY35" fmla="*/ 3209667 h 6857999"/>
              <a:gd name="connsiteX36" fmla="*/ 7549271 w 12070798"/>
              <a:gd name="connsiteY36" fmla="*/ 3605746 h 6857999"/>
              <a:gd name="connsiteX37" fmla="*/ 7923921 w 12070798"/>
              <a:gd name="connsiteY37" fmla="*/ 4000241 h 6857999"/>
              <a:gd name="connsiteX38" fmla="*/ 8300159 w 12070798"/>
              <a:gd name="connsiteY38" fmla="*/ 3605746 h 6857999"/>
              <a:gd name="connsiteX39" fmla="*/ 7923921 w 12070798"/>
              <a:gd name="connsiteY39" fmla="*/ 3209667 h 6857999"/>
              <a:gd name="connsiteX40" fmla="*/ 5195009 w 12070798"/>
              <a:gd name="connsiteY40" fmla="*/ 3209667 h 6857999"/>
              <a:gd name="connsiteX41" fmla="*/ 4956884 w 12070798"/>
              <a:gd name="connsiteY41" fmla="*/ 3257194 h 6857999"/>
              <a:gd name="connsiteX42" fmla="*/ 4852109 w 12070798"/>
              <a:gd name="connsiteY42" fmla="*/ 3225508 h 6857999"/>
              <a:gd name="connsiteX43" fmla="*/ 4852109 w 12070798"/>
              <a:gd name="connsiteY43" fmla="*/ 3978016 h 6857999"/>
              <a:gd name="connsiteX44" fmla="*/ 5055309 w 12070798"/>
              <a:gd name="connsiteY44" fmla="*/ 3978016 h 6857999"/>
              <a:gd name="connsiteX45" fmla="*/ 5055309 w 12070798"/>
              <a:gd name="connsiteY45" fmla="*/ 3410863 h 6857999"/>
              <a:gd name="connsiteX46" fmla="*/ 5180721 w 12070798"/>
              <a:gd name="connsiteY46" fmla="*/ 3376010 h 6857999"/>
              <a:gd name="connsiteX47" fmla="*/ 5315659 w 12070798"/>
              <a:gd name="connsiteY47" fmla="*/ 3534433 h 6857999"/>
              <a:gd name="connsiteX48" fmla="*/ 5315659 w 12070798"/>
              <a:gd name="connsiteY48" fmla="*/ 3978016 h 6857999"/>
              <a:gd name="connsiteX49" fmla="*/ 5520446 w 12070798"/>
              <a:gd name="connsiteY49" fmla="*/ 3978016 h 6857999"/>
              <a:gd name="connsiteX50" fmla="*/ 5520446 w 12070798"/>
              <a:gd name="connsiteY50" fmla="*/ 3502748 h 6857999"/>
              <a:gd name="connsiteX51" fmla="*/ 5195009 w 12070798"/>
              <a:gd name="connsiteY51" fmla="*/ 3209667 h 6857999"/>
              <a:gd name="connsiteX52" fmla="*/ 4361572 w 12070798"/>
              <a:gd name="connsiteY52" fmla="*/ 3209667 h 6857999"/>
              <a:gd name="connsiteX53" fmla="*/ 4117097 w 12070798"/>
              <a:gd name="connsiteY53" fmla="*/ 3242938 h 6857999"/>
              <a:gd name="connsiteX54" fmla="*/ 4101221 w 12070798"/>
              <a:gd name="connsiteY54" fmla="*/ 3407707 h 6857999"/>
              <a:gd name="connsiteX55" fmla="*/ 4353634 w 12070798"/>
              <a:gd name="connsiteY55" fmla="*/ 3369683 h 6857999"/>
              <a:gd name="connsiteX56" fmla="*/ 4491746 w 12070798"/>
              <a:gd name="connsiteY56" fmla="*/ 3469494 h 6857999"/>
              <a:gd name="connsiteX57" fmla="*/ 4491746 w 12070798"/>
              <a:gd name="connsiteY57" fmla="*/ 3504349 h 6857999"/>
              <a:gd name="connsiteX58" fmla="*/ 4334584 w 12070798"/>
              <a:gd name="connsiteY58" fmla="*/ 3513855 h 6857999"/>
              <a:gd name="connsiteX59" fmla="*/ 4040897 w 12070798"/>
              <a:gd name="connsiteY59" fmla="*/ 3749919 h 6857999"/>
              <a:gd name="connsiteX60" fmla="*/ 4377446 w 12070798"/>
              <a:gd name="connsiteY60" fmla="*/ 4000241 h 6857999"/>
              <a:gd name="connsiteX61" fmla="*/ 4698120 w 12070798"/>
              <a:gd name="connsiteY61" fmla="*/ 3944790 h 6857999"/>
              <a:gd name="connsiteX62" fmla="*/ 4698120 w 12070798"/>
              <a:gd name="connsiteY62" fmla="*/ 3464741 h 6857999"/>
              <a:gd name="connsiteX63" fmla="*/ 4361572 w 12070798"/>
              <a:gd name="connsiteY63" fmla="*/ 3209667 h 6857999"/>
              <a:gd name="connsiteX64" fmla="*/ 2350210 w 12070798"/>
              <a:gd name="connsiteY64" fmla="*/ 2946142 h 6857999"/>
              <a:gd name="connsiteX65" fmla="*/ 2350210 w 12070798"/>
              <a:gd name="connsiteY65" fmla="*/ 3138230 h 6857999"/>
              <a:gd name="connsiteX66" fmla="*/ 2647073 w 12070798"/>
              <a:gd name="connsiteY66" fmla="*/ 3138230 h 6857999"/>
              <a:gd name="connsiteX67" fmla="*/ 2647073 w 12070798"/>
              <a:gd name="connsiteY67" fmla="*/ 3978016 h 6857999"/>
              <a:gd name="connsiteX68" fmla="*/ 2862973 w 12070798"/>
              <a:gd name="connsiteY68" fmla="*/ 3978016 h 6857999"/>
              <a:gd name="connsiteX69" fmla="*/ 2862973 w 12070798"/>
              <a:gd name="connsiteY69" fmla="*/ 3138230 h 6857999"/>
              <a:gd name="connsiteX70" fmla="*/ 3150311 w 12070798"/>
              <a:gd name="connsiteY70" fmla="*/ 3138230 h 6857999"/>
              <a:gd name="connsiteX71" fmla="*/ 3170948 w 12070798"/>
              <a:gd name="connsiteY71" fmla="*/ 2946142 h 6857999"/>
              <a:gd name="connsiteX72" fmla="*/ 3467809 w 12070798"/>
              <a:gd name="connsiteY72" fmla="*/ 2839780 h 6857999"/>
              <a:gd name="connsiteX73" fmla="*/ 3263022 w 12070798"/>
              <a:gd name="connsiteY73" fmla="*/ 2863559 h 6857999"/>
              <a:gd name="connsiteX74" fmla="*/ 3263022 w 12070798"/>
              <a:gd name="connsiteY74" fmla="*/ 3978017 h 6857999"/>
              <a:gd name="connsiteX75" fmla="*/ 3467809 w 12070798"/>
              <a:gd name="connsiteY75" fmla="*/ 3978017 h 6857999"/>
              <a:gd name="connsiteX76" fmla="*/ 3467809 w 12070798"/>
              <a:gd name="connsiteY76" fmla="*/ 3394631 h 6857999"/>
              <a:gd name="connsiteX77" fmla="*/ 3583697 w 12070798"/>
              <a:gd name="connsiteY77" fmla="*/ 3375608 h 6857999"/>
              <a:gd name="connsiteX78" fmla="*/ 3728159 w 12070798"/>
              <a:gd name="connsiteY78" fmla="*/ 3534136 h 6857999"/>
              <a:gd name="connsiteX79" fmla="*/ 3728159 w 12070798"/>
              <a:gd name="connsiteY79" fmla="*/ 3978017 h 6857999"/>
              <a:gd name="connsiteX80" fmla="*/ 3932946 w 12070798"/>
              <a:gd name="connsiteY80" fmla="*/ 3978017 h 6857999"/>
              <a:gd name="connsiteX81" fmla="*/ 3932946 w 12070798"/>
              <a:gd name="connsiteY81" fmla="*/ 3502430 h 6857999"/>
              <a:gd name="connsiteX82" fmla="*/ 3615446 w 12070798"/>
              <a:gd name="connsiteY82" fmla="*/ 3209152 h 6857999"/>
              <a:gd name="connsiteX83" fmla="*/ 3467809 w 12070798"/>
              <a:gd name="connsiteY83" fmla="*/ 3228175 h 6857999"/>
              <a:gd name="connsiteX84" fmla="*/ 3467809 w 12070798"/>
              <a:gd name="connsiteY84" fmla="*/ 2839780 h 6857999"/>
              <a:gd name="connsiteX85" fmla="*/ 5880808 w 12070798"/>
              <a:gd name="connsiteY85" fmla="*/ 2839780 h 6857999"/>
              <a:gd name="connsiteX86" fmla="*/ 5677608 w 12070798"/>
              <a:gd name="connsiteY86" fmla="*/ 2863592 h 6857999"/>
              <a:gd name="connsiteX87" fmla="*/ 5677608 w 12070798"/>
              <a:gd name="connsiteY87" fmla="*/ 3978017 h 6857999"/>
              <a:gd name="connsiteX88" fmla="*/ 5880808 w 12070798"/>
              <a:gd name="connsiteY88" fmla="*/ 3978017 h 6857999"/>
              <a:gd name="connsiteX89" fmla="*/ 5880808 w 12070798"/>
              <a:gd name="connsiteY89" fmla="*/ 3774817 h 6857999"/>
              <a:gd name="connsiteX90" fmla="*/ 5985583 w 12070798"/>
              <a:gd name="connsiteY90" fmla="*/ 3665280 h 6857999"/>
              <a:gd name="connsiteX91" fmla="*/ 6198308 w 12070798"/>
              <a:gd name="connsiteY91" fmla="*/ 3978017 h 6857999"/>
              <a:gd name="connsiteX92" fmla="*/ 6455483 w 12070798"/>
              <a:gd name="connsiteY92" fmla="*/ 3978017 h 6857999"/>
              <a:gd name="connsiteX93" fmla="*/ 6131633 w 12070798"/>
              <a:gd name="connsiteY93" fmla="*/ 3509704 h 6857999"/>
              <a:gd name="connsiteX94" fmla="*/ 6396746 w 12070798"/>
              <a:gd name="connsiteY94" fmla="*/ 3230305 h 6857999"/>
              <a:gd name="connsiteX95" fmla="*/ 6161796 w 12070798"/>
              <a:gd name="connsiteY95" fmla="*/ 3230305 h 6857999"/>
              <a:gd name="connsiteX96" fmla="*/ 5880808 w 12070798"/>
              <a:gd name="connsiteY96" fmla="*/ 3527167 h 6857999"/>
              <a:gd name="connsiteX97" fmla="*/ 1608846 w 12070798"/>
              <a:gd name="connsiteY97" fmla="*/ 2463541 h 6857999"/>
              <a:gd name="connsiteX98" fmla="*/ 1351670 w 12070798"/>
              <a:gd name="connsiteY98" fmla="*/ 2582505 h 6857999"/>
              <a:gd name="connsiteX99" fmla="*/ 1537408 w 12070798"/>
              <a:gd name="connsiteY99" fmla="*/ 3418423 h 6857999"/>
              <a:gd name="connsiteX100" fmla="*/ 1351670 w 12070798"/>
              <a:gd name="connsiteY100" fmla="*/ 4254341 h 6857999"/>
              <a:gd name="connsiteX101" fmla="*/ 1608846 w 12070798"/>
              <a:gd name="connsiteY101" fmla="*/ 4373304 h 6857999"/>
              <a:gd name="connsiteX102" fmla="*/ 1819983 w 12070798"/>
              <a:gd name="connsiteY102" fmla="*/ 3418423 h 6857999"/>
              <a:gd name="connsiteX103" fmla="*/ 1608846 w 12070798"/>
              <a:gd name="connsiteY103" fmla="*/ 2463541 h 6857999"/>
              <a:gd name="connsiteX104" fmla="*/ 10546471 w 12070798"/>
              <a:gd name="connsiteY104" fmla="*/ 1568191 h 6857999"/>
              <a:gd name="connsiteX105" fmla="*/ 9582858 w 12070798"/>
              <a:gd name="connsiteY105" fmla="*/ 3418423 h 6857999"/>
              <a:gd name="connsiteX106" fmla="*/ 10546471 w 12070798"/>
              <a:gd name="connsiteY106" fmla="*/ 5268654 h 6857999"/>
              <a:gd name="connsiteX107" fmla="*/ 10708396 w 12070798"/>
              <a:gd name="connsiteY107" fmla="*/ 5037177 h 6857999"/>
              <a:gd name="connsiteX108" fmla="*/ 9865433 w 12070798"/>
              <a:gd name="connsiteY108" fmla="*/ 3418423 h 6857999"/>
              <a:gd name="connsiteX109" fmla="*/ 10708396 w 12070798"/>
              <a:gd name="connsiteY109" fmla="*/ 1799668 h 6857999"/>
              <a:gd name="connsiteX110" fmla="*/ 10546471 w 12070798"/>
              <a:gd name="connsiteY110" fmla="*/ 1568191 h 6857999"/>
              <a:gd name="connsiteX111" fmla="*/ 0 w 12070798"/>
              <a:gd name="connsiteY111" fmla="*/ 0 h 6857999"/>
              <a:gd name="connsiteX112" fmla="*/ 12070798 w 12070798"/>
              <a:gd name="connsiteY112" fmla="*/ 0 h 6857999"/>
              <a:gd name="connsiteX113" fmla="*/ 12070798 w 12070798"/>
              <a:gd name="connsiteY113" fmla="*/ 6857999 h 6857999"/>
              <a:gd name="connsiteX114" fmla="*/ 0 w 12070798"/>
              <a:gd name="connsiteY11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2070798" h="6857999">
                <a:moveTo>
                  <a:pt x="4491748" y="3650991"/>
                </a:moveTo>
                <a:cubicBezTo>
                  <a:pt x="4491748" y="3650991"/>
                  <a:pt x="4491748" y="3650991"/>
                  <a:pt x="4491748" y="3827204"/>
                </a:cubicBezTo>
                <a:cubicBezTo>
                  <a:pt x="4459996" y="3835141"/>
                  <a:pt x="4421896" y="3841491"/>
                  <a:pt x="4379034" y="3841491"/>
                </a:cubicBezTo>
                <a:cubicBezTo>
                  <a:pt x="4285372" y="3841491"/>
                  <a:pt x="4239334" y="3811329"/>
                  <a:pt x="4239334" y="3749416"/>
                </a:cubicBezTo>
                <a:cubicBezTo>
                  <a:pt x="4239334" y="3689091"/>
                  <a:pt x="4269495" y="3666866"/>
                  <a:pt x="4361572" y="3660516"/>
                </a:cubicBezTo>
                <a:cubicBezTo>
                  <a:pt x="4361572" y="3660516"/>
                  <a:pt x="4361572" y="3660516"/>
                  <a:pt x="4491748" y="3650991"/>
                </a:cubicBezTo>
                <a:close/>
                <a:moveTo>
                  <a:pt x="7923921" y="3370005"/>
                </a:moveTo>
                <a:cubicBezTo>
                  <a:pt x="8022345" y="3370005"/>
                  <a:pt x="8082671" y="3428543"/>
                  <a:pt x="8082671" y="3605743"/>
                </a:cubicBezTo>
                <a:cubicBezTo>
                  <a:pt x="8082671" y="3779778"/>
                  <a:pt x="8022345" y="3838317"/>
                  <a:pt x="7923921" y="3838317"/>
                </a:cubicBezTo>
                <a:cubicBezTo>
                  <a:pt x="7827083" y="3838317"/>
                  <a:pt x="7766759" y="3779778"/>
                  <a:pt x="7766759" y="3605743"/>
                </a:cubicBezTo>
                <a:cubicBezTo>
                  <a:pt x="7766759" y="3430125"/>
                  <a:pt x="7827083" y="3370005"/>
                  <a:pt x="7923921" y="3370005"/>
                </a:cubicBezTo>
                <a:close/>
                <a:moveTo>
                  <a:pt x="6777746" y="3230305"/>
                </a:moveTo>
                <a:cubicBezTo>
                  <a:pt x="6777746" y="3230305"/>
                  <a:pt x="6777746" y="3230305"/>
                  <a:pt x="7019046" y="3978499"/>
                </a:cubicBezTo>
                <a:cubicBezTo>
                  <a:pt x="7019046" y="3978499"/>
                  <a:pt x="7019046" y="3978499"/>
                  <a:pt x="7098421" y="3978499"/>
                </a:cubicBezTo>
                <a:cubicBezTo>
                  <a:pt x="7055558" y="4116408"/>
                  <a:pt x="7026983" y="4138600"/>
                  <a:pt x="6934908" y="4138600"/>
                </a:cubicBezTo>
                <a:cubicBezTo>
                  <a:pt x="6890458" y="4138600"/>
                  <a:pt x="6828546" y="4127504"/>
                  <a:pt x="6769808" y="4105312"/>
                </a:cubicBezTo>
                <a:cubicBezTo>
                  <a:pt x="6769808" y="4105312"/>
                  <a:pt x="6769808" y="4105312"/>
                  <a:pt x="6790446" y="4281265"/>
                </a:cubicBezTo>
                <a:cubicBezTo>
                  <a:pt x="6847596" y="4295531"/>
                  <a:pt x="6915858" y="4305042"/>
                  <a:pt x="6974596" y="4305042"/>
                </a:cubicBezTo>
                <a:cubicBezTo>
                  <a:pt x="7155571" y="4305042"/>
                  <a:pt x="7206371" y="4205177"/>
                  <a:pt x="7276221" y="3992766"/>
                </a:cubicBezTo>
                <a:cubicBezTo>
                  <a:pt x="7276221" y="3992766"/>
                  <a:pt x="7276221" y="3992766"/>
                  <a:pt x="7525458" y="3230305"/>
                </a:cubicBezTo>
                <a:lnTo>
                  <a:pt x="7333371" y="3230305"/>
                </a:lnTo>
                <a:cubicBezTo>
                  <a:pt x="7333371" y="3230305"/>
                  <a:pt x="7333371" y="3230305"/>
                  <a:pt x="7157158" y="3791451"/>
                </a:cubicBezTo>
                <a:cubicBezTo>
                  <a:pt x="7157158" y="3791451"/>
                  <a:pt x="7157158" y="3791451"/>
                  <a:pt x="6987296" y="3230305"/>
                </a:cubicBezTo>
                <a:cubicBezTo>
                  <a:pt x="6987296" y="3230305"/>
                  <a:pt x="6987296" y="3230305"/>
                  <a:pt x="6777746" y="3230305"/>
                </a:cubicBezTo>
                <a:close/>
                <a:moveTo>
                  <a:pt x="8620832" y="3219191"/>
                </a:moveTo>
                <a:cubicBezTo>
                  <a:pt x="8620832" y="3219191"/>
                  <a:pt x="8620832" y="3219191"/>
                  <a:pt x="8416045" y="3242956"/>
                </a:cubicBezTo>
                <a:cubicBezTo>
                  <a:pt x="8416045" y="3242956"/>
                  <a:pt x="8416045" y="3242956"/>
                  <a:pt x="8416045" y="3705565"/>
                </a:cubicBezTo>
                <a:cubicBezTo>
                  <a:pt x="8416045" y="3883004"/>
                  <a:pt x="8490658" y="4000241"/>
                  <a:pt x="8736720" y="4000241"/>
                </a:cubicBezTo>
                <a:cubicBezTo>
                  <a:pt x="8843082" y="4000241"/>
                  <a:pt x="8970082" y="3978061"/>
                  <a:pt x="9079620" y="3946376"/>
                </a:cubicBezTo>
                <a:cubicBezTo>
                  <a:pt x="9079620" y="3946376"/>
                  <a:pt x="9079620" y="3946376"/>
                  <a:pt x="9079620" y="3219191"/>
                </a:cubicBezTo>
                <a:lnTo>
                  <a:pt x="8873245" y="3242956"/>
                </a:lnTo>
                <a:cubicBezTo>
                  <a:pt x="8873245" y="3242956"/>
                  <a:pt x="8873245" y="3242956"/>
                  <a:pt x="8873245" y="3818049"/>
                </a:cubicBezTo>
                <a:cubicBezTo>
                  <a:pt x="8843082" y="3825970"/>
                  <a:pt x="8800220" y="3832307"/>
                  <a:pt x="8760532" y="3832307"/>
                </a:cubicBezTo>
                <a:cubicBezTo>
                  <a:pt x="8631945" y="3832307"/>
                  <a:pt x="8620832" y="3754678"/>
                  <a:pt x="8620832" y="3675464"/>
                </a:cubicBezTo>
                <a:cubicBezTo>
                  <a:pt x="8620832" y="3675464"/>
                  <a:pt x="8620832" y="3675464"/>
                  <a:pt x="8620832" y="3219191"/>
                </a:cubicBezTo>
                <a:close/>
                <a:moveTo>
                  <a:pt x="7923921" y="3209667"/>
                </a:moveTo>
                <a:cubicBezTo>
                  <a:pt x="7700083" y="3209667"/>
                  <a:pt x="7549271" y="3337996"/>
                  <a:pt x="7549271" y="3605746"/>
                </a:cubicBezTo>
                <a:cubicBezTo>
                  <a:pt x="7549271" y="3871911"/>
                  <a:pt x="7700083" y="4000241"/>
                  <a:pt x="7923921" y="4000241"/>
                </a:cubicBezTo>
                <a:cubicBezTo>
                  <a:pt x="8149345" y="4000241"/>
                  <a:pt x="8300159" y="3871911"/>
                  <a:pt x="8300159" y="3605746"/>
                </a:cubicBezTo>
                <a:cubicBezTo>
                  <a:pt x="8300159" y="3339580"/>
                  <a:pt x="8149345" y="3209667"/>
                  <a:pt x="7923921" y="3209667"/>
                </a:cubicBezTo>
                <a:close/>
                <a:moveTo>
                  <a:pt x="5195009" y="3209667"/>
                </a:moveTo>
                <a:cubicBezTo>
                  <a:pt x="5121984" y="3209667"/>
                  <a:pt x="5037847" y="3227093"/>
                  <a:pt x="4956884" y="3257194"/>
                </a:cubicBezTo>
                <a:cubicBezTo>
                  <a:pt x="4956884" y="3257194"/>
                  <a:pt x="4956884" y="3257194"/>
                  <a:pt x="4852109" y="3225508"/>
                </a:cubicBezTo>
                <a:cubicBezTo>
                  <a:pt x="4852109" y="3225508"/>
                  <a:pt x="4852109" y="3225508"/>
                  <a:pt x="4852109" y="3978016"/>
                </a:cubicBezTo>
                <a:cubicBezTo>
                  <a:pt x="4852109" y="3978016"/>
                  <a:pt x="4852109" y="3978016"/>
                  <a:pt x="5055309" y="3978016"/>
                </a:cubicBezTo>
                <a:cubicBezTo>
                  <a:pt x="5055309" y="3978016"/>
                  <a:pt x="5055309" y="3978016"/>
                  <a:pt x="5055309" y="3410863"/>
                </a:cubicBezTo>
                <a:cubicBezTo>
                  <a:pt x="5087059" y="3390268"/>
                  <a:pt x="5129922" y="3376010"/>
                  <a:pt x="5180721" y="3376010"/>
                </a:cubicBezTo>
                <a:cubicBezTo>
                  <a:pt x="5277559" y="3376010"/>
                  <a:pt x="5315659" y="3421953"/>
                  <a:pt x="5315659" y="3534433"/>
                </a:cubicBezTo>
                <a:cubicBezTo>
                  <a:pt x="5315659" y="3534433"/>
                  <a:pt x="5315659" y="3534433"/>
                  <a:pt x="5315659" y="3978016"/>
                </a:cubicBezTo>
                <a:cubicBezTo>
                  <a:pt x="5315659" y="3978016"/>
                  <a:pt x="5315659" y="3978016"/>
                  <a:pt x="5520446" y="3978016"/>
                </a:cubicBezTo>
                <a:cubicBezTo>
                  <a:pt x="5520446" y="3978016"/>
                  <a:pt x="5520446" y="3978016"/>
                  <a:pt x="5520446" y="3502748"/>
                </a:cubicBezTo>
                <a:cubicBezTo>
                  <a:pt x="5520446" y="3326899"/>
                  <a:pt x="5447422" y="3209667"/>
                  <a:pt x="5195009" y="3209667"/>
                </a:cubicBezTo>
                <a:close/>
                <a:moveTo>
                  <a:pt x="4361572" y="3209667"/>
                </a:moveTo>
                <a:cubicBezTo>
                  <a:pt x="4288545" y="3209667"/>
                  <a:pt x="4196471" y="3220757"/>
                  <a:pt x="4117097" y="3242938"/>
                </a:cubicBezTo>
                <a:cubicBezTo>
                  <a:pt x="4117097" y="3242938"/>
                  <a:pt x="4117097" y="3242938"/>
                  <a:pt x="4101221" y="3407707"/>
                </a:cubicBezTo>
                <a:cubicBezTo>
                  <a:pt x="4167897" y="3388694"/>
                  <a:pt x="4267908" y="3369683"/>
                  <a:pt x="4353634" y="3369683"/>
                </a:cubicBezTo>
                <a:cubicBezTo>
                  <a:pt x="4466346" y="3369683"/>
                  <a:pt x="4491746" y="3412459"/>
                  <a:pt x="4491746" y="3469494"/>
                </a:cubicBezTo>
                <a:cubicBezTo>
                  <a:pt x="4491746" y="3469494"/>
                  <a:pt x="4491746" y="3469494"/>
                  <a:pt x="4491746" y="3504349"/>
                </a:cubicBezTo>
                <a:cubicBezTo>
                  <a:pt x="4491746" y="3504349"/>
                  <a:pt x="4491746" y="3504349"/>
                  <a:pt x="4334584" y="3513855"/>
                </a:cubicBezTo>
                <a:cubicBezTo>
                  <a:pt x="4177421" y="3521777"/>
                  <a:pt x="4040897" y="3555048"/>
                  <a:pt x="4040897" y="3749919"/>
                </a:cubicBezTo>
                <a:cubicBezTo>
                  <a:pt x="4040897" y="3927362"/>
                  <a:pt x="4153609" y="4000241"/>
                  <a:pt x="4377446" y="4000241"/>
                </a:cubicBezTo>
                <a:cubicBezTo>
                  <a:pt x="4490158" y="4000241"/>
                  <a:pt x="4607634" y="3974892"/>
                  <a:pt x="4698120" y="3944790"/>
                </a:cubicBezTo>
                <a:cubicBezTo>
                  <a:pt x="4698120" y="3944790"/>
                  <a:pt x="4698120" y="3944790"/>
                  <a:pt x="4698120" y="3464741"/>
                </a:cubicBezTo>
                <a:cubicBezTo>
                  <a:pt x="4698120" y="3318985"/>
                  <a:pt x="4626684" y="3209667"/>
                  <a:pt x="4361572" y="3209667"/>
                </a:cubicBezTo>
                <a:close/>
                <a:moveTo>
                  <a:pt x="2350210" y="2946142"/>
                </a:moveTo>
                <a:lnTo>
                  <a:pt x="2350210" y="3138230"/>
                </a:lnTo>
                <a:lnTo>
                  <a:pt x="2647073" y="3138230"/>
                </a:lnTo>
                <a:lnTo>
                  <a:pt x="2647073" y="3978016"/>
                </a:lnTo>
                <a:lnTo>
                  <a:pt x="2862973" y="3978016"/>
                </a:lnTo>
                <a:lnTo>
                  <a:pt x="2862973" y="3138230"/>
                </a:lnTo>
                <a:lnTo>
                  <a:pt x="3150311" y="3138230"/>
                </a:lnTo>
                <a:lnTo>
                  <a:pt x="3170948" y="2946142"/>
                </a:lnTo>
                <a:close/>
                <a:moveTo>
                  <a:pt x="3467809" y="2839780"/>
                </a:moveTo>
                <a:cubicBezTo>
                  <a:pt x="3467809" y="2839780"/>
                  <a:pt x="3467809" y="2839780"/>
                  <a:pt x="3263022" y="2863559"/>
                </a:cubicBezTo>
                <a:cubicBezTo>
                  <a:pt x="3263022" y="2863559"/>
                  <a:pt x="3263022" y="2863559"/>
                  <a:pt x="3263022" y="3978017"/>
                </a:cubicBezTo>
                <a:cubicBezTo>
                  <a:pt x="3263022" y="3978017"/>
                  <a:pt x="3263022" y="3978017"/>
                  <a:pt x="3467809" y="3978017"/>
                </a:cubicBezTo>
                <a:cubicBezTo>
                  <a:pt x="3467809" y="3978017"/>
                  <a:pt x="3467809" y="3978017"/>
                  <a:pt x="3467809" y="3394631"/>
                </a:cubicBezTo>
                <a:cubicBezTo>
                  <a:pt x="3499559" y="3383534"/>
                  <a:pt x="3542422" y="3375608"/>
                  <a:pt x="3583697" y="3375608"/>
                </a:cubicBezTo>
                <a:cubicBezTo>
                  <a:pt x="3717046" y="3375608"/>
                  <a:pt x="3728159" y="3454872"/>
                  <a:pt x="3728159" y="3534136"/>
                </a:cubicBezTo>
                <a:cubicBezTo>
                  <a:pt x="3728159" y="3534136"/>
                  <a:pt x="3728159" y="3534136"/>
                  <a:pt x="3728159" y="3978017"/>
                </a:cubicBezTo>
                <a:cubicBezTo>
                  <a:pt x="3728159" y="3978017"/>
                  <a:pt x="3728159" y="3978017"/>
                  <a:pt x="3932946" y="3978017"/>
                </a:cubicBezTo>
                <a:cubicBezTo>
                  <a:pt x="3932946" y="3978017"/>
                  <a:pt x="3932946" y="3978017"/>
                  <a:pt x="3932946" y="3502430"/>
                </a:cubicBezTo>
                <a:cubicBezTo>
                  <a:pt x="3932946" y="3326463"/>
                  <a:pt x="3856747" y="3209152"/>
                  <a:pt x="3615446" y="3209152"/>
                </a:cubicBezTo>
                <a:cubicBezTo>
                  <a:pt x="3566234" y="3209152"/>
                  <a:pt x="3517021" y="3215493"/>
                  <a:pt x="3467809" y="3228175"/>
                </a:cubicBezTo>
                <a:cubicBezTo>
                  <a:pt x="3467809" y="3228175"/>
                  <a:pt x="3467809" y="3228175"/>
                  <a:pt x="3467809" y="2839780"/>
                </a:cubicBezTo>
                <a:close/>
                <a:moveTo>
                  <a:pt x="5880808" y="2839780"/>
                </a:moveTo>
                <a:lnTo>
                  <a:pt x="5677608" y="2863592"/>
                </a:lnTo>
                <a:lnTo>
                  <a:pt x="5677608" y="3978017"/>
                </a:lnTo>
                <a:lnTo>
                  <a:pt x="5880808" y="3978017"/>
                </a:lnTo>
                <a:lnTo>
                  <a:pt x="5880808" y="3774817"/>
                </a:lnTo>
                <a:lnTo>
                  <a:pt x="5985583" y="3665280"/>
                </a:lnTo>
                <a:lnTo>
                  <a:pt x="6198308" y="3978017"/>
                </a:lnTo>
                <a:lnTo>
                  <a:pt x="6455483" y="3978017"/>
                </a:lnTo>
                <a:lnTo>
                  <a:pt x="6131633" y="3509704"/>
                </a:lnTo>
                <a:lnTo>
                  <a:pt x="6396746" y="3230305"/>
                </a:lnTo>
                <a:lnTo>
                  <a:pt x="6161796" y="3230305"/>
                </a:lnTo>
                <a:lnTo>
                  <a:pt x="5880808" y="3527167"/>
                </a:lnTo>
                <a:close/>
                <a:moveTo>
                  <a:pt x="1608846" y="2463541"/>
                </a:moveTo>
                <a:cubicBezTo>
                  <a:pt x="1608846" y="2463541"/>
                  <a:pt x="1608846" y="2463541"/>
                  <a:pt x="1351670" y="2582505"/>
                </a:cubicBezTo>
                <a:cubicBezTo>
                  <a:pt x="1470733" y="2836294"/>
                  <a:pt x="1537408" y="3120220"/>
                  <a:pt x="1537408" y="3418423"/>
                </a:cubicBezTo>
                <a:cubicBezTo>
                  <a:pt x="1537408" y="3716625"/>
                  <a:pt x="1470733" y="4000551"/>
                  <a:pt x="1351670" y="4254341"/>
                </a:cubicBezTo>
                <a:cubicBezTo>
                  <a:pt x="1351670" y="4254341"/>
                  <a:pt x="1351670" y="4254341"/>
                  <a:pt x="1608846" y="4373304"/>
                </a:cubicBezTo>
                <a:cubicBezTo>
                  <a:pt x="1743783" y="4083033"/>
                  <a:pt x="1819983" y="3759452"/>
                  <a:pt x="1819983" y="3418423"/>
                </a:cubicBezTo>
                <a:cubicBezTo>
                  <a:pt x="1819983" y="3077394"/>
                  <a:pt x="1743783" y="2753813"/>
                  <a:pt x="1608846" y="2463541"/>
                </a:cubicBezTo>
                <a:close/>
                <a:moveTo>
                  <a:pt x="10546471" y="1568191"/>
                </a:moveTo>
                <a:cubicBezTo>
                  <a:pt x="9963858" y="1977240"/>
                  <a:pt x="9582858" y="2652646"/>
                  <a:pt x="9582858" y="3418423"/>
                </a:cubicBezTo>
                <a:cubicBezTo>
                  <a:pt x="9582858" y="4184200"/>
                  <a:pt x="9963858" y="4859606"/>
                  <a:pt x="10546471" y="5268654"/>
                </a:cubicBezTo>
                <a:cubicBezTo>
                  <a:pt x="10546471" y="5268654"/>
                  <a:pt x="10546471" y="5268654"/>
                  <a:pt x="10708396" y="5037177"/>
                </a:cubicBezTo>
                <a:cubicBezTo>
                  <a:pt x="10198808" y="4680449"/>
                  <a:pt x="9865433" y="4087487"/>
                  <a:pt x="9865433" y="3418423"/>
                </a:cubicBezTo>
                <a:cubicBezTo>
                  <a:pt x="9865433" y="2749359"/>
                  <a:pt x="10198808" y="2156397"/>
                  <a:pt x="10708396" y="1799668"/>
                </a:cubicBezTo>
                <a:cubicBezTo>
                  <a:pt x="10708396" y="1799668"/>
                  <a:pt x="10708396" y="1799668"/>
                  <a:pt x="10546471" y="1568191"/>
                </a:cubicBezTo>
                <a:close/>
                <a:moveTo>
                  <a:pt x="0" y="0"/>
                </a:moveTo>
                <a:lnTo>
                  <a:pt x="12070798" y="0"/>
                </a:lnTo>
                <a:lnTo>
                  <a:pt x="12070798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GB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17570539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 red_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8C26AD0A-B2DA-4BA8-971E-89A9C370B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49377" y="1520826"/>
            <a:ext cx="3893247" cy="3810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13753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8E95937-F466-4F58-B582-8721D3C9D23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6" y="1449388"/>
            <a:ext cx="11337925" cy="467994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lang="en-US" sz="1600" dirty="0" smtClean="0"/>
            </a:lvl1pPr>
            <a:lvl2pPr>
              <a:lnSpc>
                <a:spcPct val="120000"/>
              </a:lnSpc>
              <a:spcAft>
                <a:spcPts val="600"/>
              </a:spcAft>
              <a:defRPr lang="en-US" sz="1600" dirty="0" smtClean="0"/>
            </a:lvl2pPr>
            <a:lvl3pPr>
              <a:lnSpc>
                <a:spcPct val="120000"/>
              </a:lnSpc>
              <a:spcAft>
                <a:spcPts val="600"/>
              </a:spcAft>
              <a:defRPr lang="en-US" sz="1600" dirty="0" smtClean="0"/>
            </a:lvl3pPr>
            <a:lvl4pPr>
              <a:lnSpc>
                <a:spcPct val="120000"/>
              </a:lnSpc>
              <a:spcAft>
                <a:spcPts val="600"/>
              </a:spcAft>
              <a:defRPr lang="en-US" sz="1600" dirty="0" smtClean="0"/>
            </a:lvl4pPr>
            <a:lvl5pPr>
              <a:lnSpc>
                <a:spcPct val="120000"/>
              </a:lnSpc>
              <a:spcAft>
                <a:spcPts val="600"/>
              </a:spcAft>
              <a:defRPr lang="en-GB" sz="1600" dirty="0"/>
            </a:lvl5pPr>
          </a:lstStyle>
          <a:p>
            <a:pPr lvl="0"/>
            <a:r>
              <a:rPr lang="en-US"/>
              <a:t>Add first level body cop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500473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9219" y="383532"/>
            <a:ext cx="10750549" cy="461665"/>
          </a:xfrm>
        </p:spPr>
        <p:txBody>
          <a:bodyPr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39803" y="1096010"/>
            <a:ext cx="10672234" cy="2154436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2000">
                <a:latin typeface="+mn-lt"/>
              </a:defRPr>
            </a:lvl2pPr>
            <a:lvl3pPr marL="571486" indent="-342892">
              <a:defRPr sz="2000">
                <a:latin typeface="+mn-lt"/>
              </a:defRPr>
            </a:lvl3pPr>
            <a:lvl4pPr marL="861992" indent="-290506">
              <a:defRPr sz="2000">
                <a:latin typeface="+mn-lt"/>
              </a:defRPr>
            </a:lvl4pPr>
            <a:lvl5pPr marL="1204883" indent="-342892">
              <a:defRPr sz="2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911612" y="6316025"/>
            <a:ext cx="38608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rtl="0" fontAlgn="base">
              <a:spcBef>
                <a:spcPct val="50000"/>
              </a:spcBef>
              <a:spcAft>
                <a:spcPct val="0"/>
              </a:spcAft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>
              <a:defRPr/>
            </a:pPr>
            <a:r>
              <a:rPr lang="en-US" sz="900"/>
              <a:t>Barclays Africa Bursary and Sponsorship</a:t>
            </a:r>
          </a:p>
        </p:txBody>
      </p:sp>
    </p:spTree>
    <p:extLst>
      <p:ext uri="{BB962C8B-B14F-4D97-AF65-F5344CB8AC3E}">
        <p14:creationId xmlns:p14="http://schemas.microsoft.com/office/powerpoint/2010/main" val="193888668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4" y="445808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5D3A4F-C11A-480D-B249-1B3A0A517F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213249"/>
            <a:ext cx="11337924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GB" sz="20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lvl="0" indent="-228600">
              <a:lnSpc>
                <a:spcPct val="100000"/>
              </a:lnSpc>
              <a:spcAft>
                <a:spcPts val="0"/>
              </a:spcAft>
            </a:pPr>
            <a:r>
              <a:rPr lang="en-US"/>
              <a:t>Add sub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FAFE8B-1D42-460B-875F-B063FE652E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5" y="1628774"/>
            <a:ext cx="11337925" cy="45005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/>
            </a:lvl1pPr>
            <a:lvl2pPr>
              <a:defRPr lang="en-US" sz="1600" dirty="0"/>
            </a:lvl2pPr>
            <a:lvl3pPr>
              <a:defRPr lang="en-US" sz="1600" dirty="0"/>
            </a:lvl3pPr>
            <a:lvl4pPr>
              <a:defRPr lang="en-US" sz="1600" dirty="0"/>
            </a:lvl4pPr>
            <a:lvl5pPr>
              <a:defRPr lang="en-GB" sz="1600" dirty="0"/>
            </a:lvl5pPr>
          </a:lstStyle>
          <a:p>
            <a:pPr lvl="0">
              <a:lnSpc>
                <a:spcPct val="120000"/>
              </a:lnSpc>
              <a:spcAft>
                <a:spcPts val="60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6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6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6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600"/>
              </a:spcAft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60466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8C26AD0A-B2DA-4BA8-971E-89A9C370B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49377" y="1520826"/>
            <a:ext cx="3893247" cy="3810079"/>
          </a:xfrm>
          <a:prstGeom prst="rect">
            <a:avLst/>
          </a:prstGeom>
        </p:spPr>
      </p:pic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8DC2B06C-F2D2-4BB1-ABBB-C1365B4CFA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8" y="6129339"/>
            <a:ext cx="7166539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</p:spTree>
    <p:extLst>
      <p:ext uri="{BB962C8B-B14F-4D97-AF65-F5344CB8AC3E}">
        <p14:creationId xmlns:p14="http://schemas.microsoft.com/office/powerpoint/2010/main" val="66665544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378262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400986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810293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5638" y="441328"/>
            <a:ext cx="11340000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Key Business Drivers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5D3A4F-C11A-480D-B249-1B3A0A517F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38" y="1213252"/>
            <a:ext cx="11340000" cy="34316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F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541174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8E95937-F466-4F58-B582-8721D3C9D23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7" y="1449388"/>
            <a:ext cx="11337925" cy="467994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20000"/>
              </a:lnSpc>
              <a:spcAft>
                <a:spcPts val="450"/>
              </a:spcAft>
              <a:defRPr lang="en-US" sz="1200" dirty="0" smtClean="0"/>
            </a:lvl1pPr>
            <a:lvl2pPr>
              <a:lnSpc>
                <a:spcPct val="120000"/>
              </a:lnSpc>
              <a:spcAft>
                <a:spcPts val="450"/>
              </a:spcAft>
              <a:defRPr lang="en-US" sz="1200" dirty="0" smtClean="0"/>
            </a:lvl2pPr>
            <a:lvl3pPr>
              <a:lnSpc>
                <a:spcPct val="120000"/>
              </a:lnSpc>
              <a:spcAft>
                <a:spcPts val="450"/>
              </a:spcAft>
              <a:defRPr lang="en-US" sz="1200" dirty="0" smtClean="0"/>
            </a:lvl3pPr>
            <a:lvl4pPr>
              <a:lnSpc>
                <a:spcPct val="120000"/>
              </a:lnSpc>
              <a:spcAft>
                <a:spcPts val="450"/>
              </a:spcAft>
              <a:defRPr lang="en-US" sz="1200" dirty="0" smtClean="0"/>
            </a:lvl4pPr>
            <a:lvl5pPr>
              <a:lnSpc>
                <a:spcPct val="120000"/>
              </a:lnSpc>
              <a:spcAft>
                <a:spcPts val="450"/>
              </a:spcAft>
              <a:defRPr lang="en-GB" sz="1200" dirty="0"/>
            </a:lvl5pPr>
          </a:lstStyle>
          <a:p>
            <a:pPr lvl="0"/>
            <a:r>
              <a:rPr lang="en-US"/>
              <a:t>Add first level body cop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580975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source/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8E95937-F466-4F58-B582-8721D3C9D23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7" y="1449388"/>
            <a:ext cx="11337925" cy="440056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GB" sz="120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BED2F0F8-4186-44B6-873A-D194D89C9C0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8777" y="5953663"/>
            <a:ext cx="11337924" cy="189230"/>
          </a:xfr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675" i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mtClean="0">
                <a:latin typeface="+mj-lt"/>
              </a:defRPr>
            </a:lvl2pPr>
            <a:lvl3pPr>
              <a:defRPr lang="en-US" smtClean="0">
                <a:latin typeface="+mj-lt"/>
              </a:defRPr>
            </a:lvl3pPr>
            <a:lvl4pPr>
              <a:defRPr lang="en-US" smtClean="0">
                <a:latin typeface="+mj-lt"/>
              </a:defRPr>
            </a:lvl4pPr>
            <a:lvl5pPr>
              <a:defRPr lang="en-GB">
                <a:latin typeface="+mj-lt"/>
              </a:defRPr>
            </a:lvl5pPr>
          </a:lstStyle>
          <a:p>
            <a:pPr marL="171450" lvl="0" indent="-171450"/>
            <a:r>
              <a:rPr lang="en-US"/>
              <a:t>Add footnote/sourc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68281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1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5D3A4F-C11A-480D-B249-1B3A0A517F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776" y="1213252"/>
            <a:ext cx="11337924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GB" sz="15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  <a:spcAft>
                <a:spcPts val="0"/>
              </a:spcAft>
            </a:pPr>
            <a:r>
              <a:rPr lang="en-US"/>
              <a:t>Add sub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FAFE8B-1D42-460B-875F-B063FE652E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7" y="1628777"/>
            <a:ext cx="11337925" cy="45005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GB" sz="120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979810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&amp; source/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1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5D3A4F-C11A-480D-B249-1B3A0A517F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776" y="1213252"/>
            <a:ext cx="11337924" cy="34316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GB" sz="15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  <a:spcAft>
                <a:spcPts val="0"/>
              </a:spcAft>
            </a:pPr>
            <a:r>
              <a:rPr lang="en-US"/>
              <a:t>Add subtit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FAFE8B-1D42-460B-875F-B063FE652E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7" y="1628775"/>
            <a:ext cx="11337925" cy="42322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200" dirty="0"/>
            </a:lvl4pPr>
            <a:lvl5pPr>
              <a:defRPr lang="en-GB" sz="1200" dirty="0"/>
            </a:lvl5pPr>
          </a:lstStyle>
          <a:p>
            <a:pPr lvl="0">
              <a:lnSpc>
                <a:spcPct val="120000"/>
              </a:lnSpc>
              <a:spcAft>
                <a:spcPts val="450"/>
              </a:spcAft>
            </a:pPr>
            <a:r>
              <a:rPr lang="en-US"/>
              <a:t>Add first level body copy</a:t>
            </a:r>
          </a:p>
          <a:p>
            <a:pPr lvl="1">
              <a:lnSpc>
                <a:spcPct val="120000"/>
              </a:lnSpc>
              <a:spcAft>
                <a:spcPts val="4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20000"/>
              </a:lnSpc>
              <a:spcAft>
                <a:spcPts val="4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20000"/>
              </a:lnSpc>
              <a:spcAft>
                <a:spcPts val="4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20000"/>
              </a:lnSpc>
              <a:spcAft>
                <a:spcPts val="45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A1095E4-71FF-4040-9780-3C562EF7E7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8777" y="6024283"/>
            <a:ext cx="11337924" cy="189230"/>
          </a:xfr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675" i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mtClean="0">
                <a:latin typeface="+mj-lt"/>
              </a:defRPr>
            </a:lvl2pPr>
            <a:lvl3pPr>
              <a:defRPr lang="en-US" smtClean="0">
                <a:latin typeface="+mj-lt"/>
              </a:defRPr>
            </a:lvl3pPr>
            <a:lvl4pPr>
              <a:defRPr lang="en-US" smtClean="0">
                <a:latin typeface="+mj-lt"/>
              </a:defRPr>
            </a:lvl4pPr>
            <a:lvl5pPr>
              <a:defRPr lang="en-GB">
                <a:latin typeface="+mj-lt"/>
              </a:defRPr>
            </a:lvl5pPr>
          </a:lstStyle>
          <a:p>
            <a:pPr marL="171450" lvl="0" indent="-171450"/>
            <a:r>
              <a:rPr lang="en-US"/>
              <a:t>Add footnote/sourc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34299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pic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D266-24FD-49CB-9AFC-2A4C82776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445811"/>
            <a:ext cx="11337925" cy="710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63F8DF2-10EE-4ED2-91AB-B7E3C37627A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58776" y="1449391"/>
            <a:ext cx="11337924" cy="4190999"/>
          </a:xfrm>
          <a:solidFill>
            <a:schemeClr val="bg2">
              <a:lumMod val="95000"/>
            </a:schemeClr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5C1C585-F7B3-47D7-9F59-BA03B794FA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6" y="5640390"/>
            <a:ext cx="11337924" cy="488951"/>
          </a:xfrm>
          <a:solidFill>
            <a:srgbClr val="4D4D4D"/>
          </a:solidFill>
        </p:spPr>
        <p:txBody>
          <a:bodyPr lIns="108000" tIns="108000" rIns="108000" bIns="108000"/>
          <a:lstStyle>
            <a:lvl1pPr marL="0" indent="0">
              <a:buNone/>
              <a:defRPr sz="7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picture cap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46724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6440F4-5C82-4330-800F-DB14049B4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7953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 yellow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8C26AD0A-B2DA-4BA8-971E-89A9C370B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49377" y="1520826"/>
            <a:ext cx="3893247" cy="3810079"/>
          </a:xfrm>
          <a:prstGeom prst="rect">
            <a:avLst/>
          </a:prstGeom>
        </p:spPr>
      </p:pic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AE5BC313-32D1-436C-8952-207862F80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8" y="6129339"/>
            <a:ext cx="7166539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</p:spTree>
    <p:extLst>
      <p:ext uri="{BB962C8B-B14F-4D97-AF65-F5344CB8AC3E}">
        <p14:creationId xmlns:p14="http://schemas.microsoft.com/office/powerpoint/2010/main" val="5823177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4F5E01-D764-47B2-83AD-81432F0C4A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32736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E0C-E281-4A55-94B2-A711BB2BAA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515968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C8947-DB04-49EC-A6BA-E6F7EA887B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373838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9E1823-DA3A-4040-BA83-B35941F51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9273204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9DD33B-A72A-440D-98C5-4E54A3C199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628336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C910D5-6432-4D5B-A11E-8A73596127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946036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A0AF12-DCC5-4C5A-B2D2-A139C9987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293351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D2BB11-E813-4AFC-802B-F320ADD7E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273497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4EA6FA-2E67-4CD2-A2C3-5900B343D8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466560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1D9060-FCA5-4ABE-8D78-8FE7170676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88643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 oran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8C26AD0A-B2DA-4BA8-971E-89A9C370B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49377" y="1520826"/>
            <a:ext cx="3893247" cy="3810079"/>
          </a:xfrm>
          <a:prstGeom prst="rect">
            <a:avLst/>
          </a:prstGeom>
        </p:spPr>
      </p:pic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6719D381-09F4-4A49-98C5-EB6F955669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8" y="6129339"/>
            <a:ext cx="7166539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</p:spTree>
    <p:extLst>
      <p:ext uri="{BB962C8B-B14F-4D97-AF65-F5344CB8AC3E}">
        <p14:creationId xmlns:p14="http://schemas.microsoft.com/office/powerpoint/2010/main" val="385758963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6A9C50-A46E-4D51-AD8F-55851E0B9F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323382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3D8440-75EB-4870-ADBB-EDE923FB8B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037773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81C2C7-8DDC-4F06-B3E7-47918003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100499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4BA7EE-18EA-45B5-BBD4-D5EA8ED45C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383561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12BCE9-3CCF-4794-B92D-49C464D32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323005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EA37CA-B17B-46D7-BA69-07593EBB4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548150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C3EF6-3A18-41E2-95B9-329502216E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588961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A4D00E-F1E6-488C-AC84-0D737DB3BD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09746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EF16B-5814-4709-9E5F-67BEDED30A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817983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353632-D73B-4037-A936-DD75E6EA1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06758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 pin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8C26AD0A-B2DA-4BA8-971E-89A9C370B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49377" y="1520826"/>
            <a:ext cx="3893247" cy="3810079"/>
          </a:xfrm>
          <a:prstGeom prst="rect">
            <a:avLst/>
          </a:prstGeom>
        </p:spPr>
      </p:pic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F07637D6-1707-4810-803C-DDB9DD7B78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23038" y="6129339"/>
            <a:ext cx="7166539" cy="381001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n-US" sz="850" b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cs typeface="+mn-cs"/>
              </a:defRPr>
            </a:lvl4pPr>
            <a:lvl5pPr>
              <a:defRPr lang="en-GB" sz="1800">
                <a:solidFill>
                  <a:schemeClr val="tx1"/>
                </a:solidFill>
                <a:cs typeface="+mn-cs"/>
              </a:defRPr>
            </a:lvl5pPr>
          </a:lstStyle>
          <a:p>
            <a:pPr marL="228594" marR="0" lvl="0" indent="-228594" fontAlgn="auto">
              <a:spcAft>
                <a:spcPts val="0"/>
              </a:spcAft>
              <a:buClrTx/>
              <a:buSzTx/>
              <a:tabLst/>
            </a:pPr>
            <a:r>
              <a:rPr lang="en-GB"/>
              <a:t>[Add company classification and regulatory details] </a:t>
            </a:r>
          </a:p>
        </p:txBody>
      </p:sp>
    </p:spTree>
    <p:extLst>
      <p:ext uri="{BB962C8B-B14F-4D97-AF65-F5344CB8AC3E}">
        <p14:creationId xmlns:p14="http://schemas.microsoft.com/office/powerpoint/2010/main" val="291297554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52607F-B5D8-4D12-BD9D-D4F74A2BF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371115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49711B-5593-4ACE-B24D-4151F300A8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807327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54C8D3-027D-4A76-B240-DA6B950BBE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01354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D4B174-9F6E-4550-8D91-C31F3E80F6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589330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87D83-2DCB-4EED-9F4E-0ECC7B6D97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9388144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D44F0A-E3AA-4683-84EE-5A1DEECF32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072943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8386E8-F078-44C5-A2E2-45D561319A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0878199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FA5A3A-90A7-4A21-9919-B1034D6787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744192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26F04F-F632-4EA3-A8F6-CA769730E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83996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41D678-5D22-4DE0-B0E5-1E212D385B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583129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slideLayout" Target="../slideLayouts/slideLayout30.xml"/><Relationship Id="rId39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25.xml"/><Relationship Id="rId34" Type="http://schemas.openxmlformats.org/officeDocument/2006/relationships/slideLayout" Target="../slideLayouts/slideLayout38.xml"/><Relationship Id="rId42" Type="http://schemas.openxmlformats.org/officeDocument/2006/relationships/slideLayout" Target="../slideLayouts/slideLayout46.xml"/><Relationship Id="rId47" Type="http://schemas.openxmlformats.org/officeDocument/2006/relationships/slideLayout" Target="../slideLayouts/slideLayout51.xml"/><Relationship Id="rId50" Type="http://schemas.openxmlformats.org/officeDocument/2006/relationships/slideLayout" Target="../slideLayouts/slideLayout54.xml"/><Relationship Id="rId55" Type="http://schemas.openxmlformats.org/officeDocument/2006/relationships/slideLayout" Target="../slideLayouts/slideLayout59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15.xml"/><Relationship Id="rId24" Type="http://schemas.openxmlformats.org/officeDocument/2006/relationships/slideLayout" Target="../slideLayouts/slideLayout28.xml"/><Relationship Id="rId32" Type="http://schemas.openxmlformats.org/officeDocument/2006/relationships/slideLayout" Target="../slideLayouts/slideLayout36.xml"/><Relationship Id="rId37" Type="http://schemas.openxmlformats.org/officeDocument/2006/relationships/slideLayout" Target="../slideLayouts/slideLayout41.xml"/><Relationship Id="rId40" Type="http://schemas.openxmlformats.org/officeDocument/2006/relationships/slideLayout" Target="../slideLayouts/slideLayout44.xml"/><Relationship Id="rId45" Type="http://schemas.openxmlformats.org/officeDocument/2006/relationships/slideLayout" Target="../slideLayouts/slideLayout49.xml"/><Relationship Id="rId53" Type="http://schemas.openxmlformats.org/officeDocument/2006/relationships/slideLayout" Target="../slideLayouts/slideLayout57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31" Type="http://schemas.openxmlformats.org/officeDocument/2006/relationships/slideLayout" Target="../slideLayouts/slideLayout35.xml"/><Relationship Id="rId44" Type="http://schemas.openxmlformats.org/officeDocument/2006/relationships/slideLayout" Target="../slideLayouts/slideLayout48.xml"/><Relationship Id="rId52" Type="http://schemas.openxmlformats.org/officeDocument/2006/relationships/slideLayout" Target="../slideLayouts/slideLayout56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31.xml"/><Relationship Id="rId30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9.xml"/><Relationship Id="rId43" Type="http://schemas.openxmlformats.org/officeDocument/2006/relationships/slideLayout" Target="../slideLayouts/slideLayout47.xml"/><Relationship Id="rId48" Type="http://schemas.openxmlformats.org/officeDocument/2006/relationships/slideLayout" Target="../slideLayouts/slideLayout52.xml"/><Relationship Id="rId56" Type="http://schemas.openxmlformats.org/officeDocument/2006/relationships/theme" Target="../theme/theme2.xml"/><Relationship Id="rId8" Type="http://schemas.openxmlformats.org/officeDocument/2006/relationships/slideLayout" Target="../slideLayouts/slideLayout12.xml"/><Relationship Id="rId51" Type="http://schemas.openxmlformats.org/officeDocument/2006/relationships/slideLayout" Target="../slideLayouts/slideLayout55.xml"/><Relationship Id="rId3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slideLayout" Target="../slideLayouts/slideLayout29.xml"/><Relationship Id="rId33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42.xml"/><Relationship Id="rId4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24.xml"/><Relationship Id="rId41" Type="http://schemas.openxmlformats.org/officeDocument/2006/relationships/slideLayout" Target="../slideLayouts/slideLayout45.xml"/><Relationship Id="rId54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32.xml"/><Relationship Id="rId36" Type="http://schemas.openxmlformats.org/officeDocument/2006/relationships/slideLayout" Target="../slideLayouts/slideLayout40.xml"/><Relationship Id="rId49" Type="http://schemas.openxmlformats.org/officeDocument/2006/relationships/slideLayout" Target="../slideLayouts/slideLayout53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85.xml"/><Relationship Id="rId21" Type="http://schemas.openxmlformats.org/officeDocument/2006/relationships/slideLayout" Target="../slideLayouts/slideLayout80.xml"/><Relationship Id="rId42" Type="http://schemas.openxmlformats.org/officeDocument/2006/relationships/slideLayout" Target="../slideLayouts/slideLayout101.xml"/><Relationship Id="rId47" Type="http://schemas.openxmlformats.org/officeDocument/2006/relationships/slideLayout" Target="../slideLayouts/slideLayout106.xml"/><Relationship Id="rId63" Type="http://schemas.openxmlformats.org/officeDocument/2006/relationships/slideLayout" Target="../slideLayouts/slideLayout122.xml"/><Relationship Id="rId68" Type="http://schemas.openxmlformats.org/officeDocument/2006/relationships/slideLayout" Target="../slideLayouts/slideLayout127.xml"/><Relationship Id="rId84" Type="http://schemas.openxmlformats.org/officeDocument/2006/relationships/slideLayout" Target="../slideLayouts/slideLayout143.xml"/><Relationship Id="rId89" Type="http://schemas.openxmlformats.org/officeDocument/2006/relationships/slideLayout" Target="../slideLayouts/slideLayout148.xml"/><Relationship Id="rId1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70.xml"/><Relationship Id="rId32" Type="http://schemas.openxmlformats.org/officeDocument/2006/relationships/slideLayout" Target="../slideLayouts/slideLayout91.xml"/><Relationship Id="rId37" Type="http://schemas.openxmlformats.org/officeDocument/2006/relationships/slideLayout" Target="../slideLayouts/slideLayout96.xml"/><Relationship Id="rId53" Type="http://schemas.openxmlformats.org/officeDocument/2006/relationships/slideLayout" Target="../slideLayouts/slideLayout112.xml"/><Relationship Id="rId58" Type="http://schemas.openxmlformats.org/officeDocument/2006/relationships/slideLayout" Target="../slideLayouts/slideLayout117.xml"/><Relationship Id="rId74" Type="http://schemas.openxmlformats.org/officeDocument/2006/relationships/slideLayout" Target="../slideLayouts/slideLayout133.xml"/><Relationship Id="rId79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64.xml"/><Relationship Id="rId90" Type="http://schemas.openxmlformats.org/officeDocument/2006/relationships/slideLayout" Target="../slideLayouts/slideLayout149.xml"/><Relationship Id="rId95" Type="http://schemas.openxmlformats.org/officeDocument/2006/relationships/slideLayout" Target="../slideLayouts/slideLayout154.xml"/><Relationship Id="rId22" Type="http://schemas.openxmlformats.org/officeDocument/2006/relationships/slideLayout" Target="../slideLayouts/slideLayout81.xml"/><Relationship Id="rId27" Type="http://schemas.openxmlformats.org/officeDocument/2006/relationships/slideLayout" Target="../slideLayouts/slideLayout86.xml"/><Relationship Id="rId43" Type="http://schemas.openxmlformats.org/officeDocument/2006/relationships/slideLayout" Target="../slideLayouts/slideLayout102.xml"/><Relationship Id="rId48" Type="http://schemas.openxmlformats.org/officeDocument/2006/relationships/slideLayout" Target="../slideLayouts/slideLayout107.xml"/><Relationship Id="rId64" Type="http://schemas.openxmlformats.org/officeDocument/2006/relationships/slideLayout" Target="../slideLayouts/slideLayout123.xml"/><Relationship Id="rId69" Type="http://schemas.openxmlformats.org/officeDocument/2006/relationships/slideLayout" Target="../slideLayouts/slideLayout128.xml"/><Relationship Id="rId80" Type="http://schemas.openxmlformats.org/officeDocument/2006/relationships/slideLayout" Target="../slideLayouts/slideLayout139.xml"/><Relationship Id="rId85" Type="http://schemas.openxmlformats.org/officeDocument/2006/relationships/slideLayout" Target="../slideLayouts/slideLayout144.xml"/><Relationship Id="rId3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84.xml"/><Relationship Id="rId33" Type="http://schemas.openxmlformats.org/officeDocument/2006/relationships/slideLayout" Target="../slideLayouts/slideLayout92.xml"/><Relationship Id="rId38" Type="http://schemas.openxmlformats.org/officeDocument/2006/relationships/slideLayout" Target="../slideLayouts/slideLayout97.xml"/><Relationship Id="rId46" Type="http://schemas.openxmlformats.org/officeDocument/2006/relationships/slideLayout" Target="../slideLayouts/slideLayout105.xml"/><Relationship Id="rId59" Type="http://schemas.openxmlformats.org/officeDocument/2006/relationships/slideLayout" Target="../slideLayouts/slideLayout118.xml"/><Relationship Id="rId67" Type="http://schemas.openxmlformats.org/officeDocument/2006/relationships/slideLayout" Target="../slideLayouts/slideLayout126.xml"/><Relationship Id="rId20" Type="http://schemas.openxmlformats.org/officeDocument/2006/relationships/slideLayout" Target="../slideLayouts/slideLayout79.xml"/><Relationship Id="rId41" Type="http://schemas.openxmlformats.org/officeDocument/2006/relationships/slideLayout" Target="../slideLayouts/slideLayout100.xml"/><Relationship Id="rId54" Type="http://schemas.openxmlformats.org/officeDocument/2006/relationships/slideLayout" Target="../slideLayouts/slideLayout113.xml"/><Relationship Id="rId62" Type="http://schemas.openxmlformats.org/officeDocument/2006/relationships/slideLayout" Target="../slideLayouts/slideLayout121.xml"/><Relationship Id="rId70" Type="http://schemas.openxmlformats.org/officeDocument/2006/relationships/slideLayout" Target="../slideLayouts/slideLayout129.xml"/><Relationship Id="rId75" Type="http://schemas.openxmlformats.org/officeDocument/2006/relationships/slideLayout" Target="../slideLayouts/slideLayout134.xml"/><Relationship Id="rId83" Type="http://schemas.openxmlformats.org/officeDocument/2006/relationships/slideLayout" Target="../slideLayouts/slideLayout142.xml"/><Relationship Id="rId88" Type="http://schemas.openxmlformats.org/officeDocument/2006/relationships/slideLayout" Target="../slideLayouts/slideLayout147.xml"/><Relationship Id="rId91" Type="http://schemas.openxmlformats.org/officeDocument/2006/relationships/slideLayout" Target="../slideLayouts/slideLayout150.xml"/><Relationship Id="rId96" Type="http://schemas.openxmlformats.org/officeDocument/2006/relationships/theme" Target="../theme/theme3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slideLayout" Target="../slideLayouts/slideLayout87.xml"/><Relationship Id="rId36" Type="http://schemas.openxmlformats.org/officeDocument/2006/relationships/slideLayout" Target="../slideLayouts/slideLayout95.xml"/><Relationship Id="rId49" Type="http://schemas.openxmlformats.org/officeDocument/2006/relationships/slideLayout" Target="../slideLayouts/slideLayout108.xml"/><Relationship Id="rId57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90.xml"/><Relationship Id="rId44" Type="http://schemas.openxmlformats.org/officeDocument/2006/relationships/slideLayout" Target="../slideLayouts/slideLayout103.xml"/><Relationship Id="rId52" Type="http://schemas.openxmlformats.org/officeDocument/2006/relationships/slideLayout" Target="../slideLayouts/slideLayout111.xml"/><Relationship Id="rId60" Type="http://schemas.openxmlformats.org/officeDocument/2006/relationships/slideLayout" Target="../slideLayouts/slideLayout119.xml"/><Relationship Id="rId65" Type="http://schemas.openxmlformats.org/officeDocument/2006/relationships/slideLayout" Target="../slideLayouts/slideLayout124.xml"/><Relationship Id="rId73" Type="http://schemas.openxmlformats.org/officeDocument/2006/relationships/slideLayout" Target="../slideLayouts/slideLayout132.xml"/><Relationship Id="rId78" Type="http://schemas.openxmlformats.org/officeDocument/2006/relationships/slideLayout" Target="../slideLayouts/slideLayout137.xml"/><Relationship Id="rId81" Type="http://schemas.openxmlformats.org/officeDocument/2006/relationships/slideLayout" Target="../slideLayouts/slideLayout140.xml"/><Relationship Id="rId86" Type="http://schemas.openxmlformats.org/officeDocument/2006/relationships/slideLayout" Target="../slideLayouts/slideLayout145.xml"/><Relationship Id="rId94" Type="http://schemas.openxmlformats.org/officeDocument/2006/relationships/slideLayout" Target="../slideLayouts/slideLayout153.xml"/><Relationship Id="rId99" Type="http://schemas.openxmlformats.org/officeDocument/2006/relationships/oleObject" Target="../embeddings/oleObject1.bin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39" Type="http://schemas.openxmlformats.org/officeDocument/2006/relationships/slideLayout" Target="../slideLayouts/slideLayout98.xml"/><Relationship Id="rId34" Type="http://schemas.openxmlformats.org/officeDocument/2006/relationships/slideLayout" Target="../slideLayouts/slideLayout93.xml"/><Relationship Id="rId50" Type="http://schemas.openxmlformats.org/officeDocument/2006/relationships/slideLayout" Target="../slideLayouts/slideLayout109.xml"/><Relationship Id="rId55" Type="http://schemas.openxmlformats.org/officeDocument/2006/relationships/slideLayout" Target="../slideLayouts/slideLayout114.xml"/><Relationship Id="rId76" Type="http://schemas.openxmlformats.org/officeDocument/2006/relationships/slideLayout" Target="../slideLayouts/slideLayout135.xml"/><Relationship Id="rId97" Type="http://schemas.openxmlformats.org/officeDocument/2006/relationships/tags" Target="../tags/tag1.xml"/><Relationship Id="rId7" Type="http://schemas.openxmlformats.org/officeDocument/2006/relationships/slideLayout" Target="../slideLayouts/slideLayout66.xml"/><Relationship Id="rId71" Type="http://schemas.openxmlformats.org/officeDocument/2006/relationships/slideLayout" Target="../slideLayouts/slideLayout130.xml"/><Relationship Id="rId92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61.xml"/><Relationship Id="rId29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83.xml"/><Relationship Id="rId40" Type="http://schemas.openxmlformats.org/officeDocument/2006/relationships/slideLayout" Target="../slideLayouts/slideLayout99.xml"/><Relationship Id="rId45" Type="http://schemas.openxmlformats.org/officeDocument/2006/relationships/slideLayout" Target="../slideLayouts/slideLayout104.xml"/><Relationship Id="rId66" Type="http://schemas.openxmlformats.org/officeDocument/2006/relationships/slideLayout" Target="../slideLayouts/slideLayout125.xml"/><Relationship Id="rId87" Type="http://schemas.openxmlformats.org/officeDocument/2006/relationships/slideLayout" Target="../slideLayouts/slideLayout146.xml"/><Relationship Id="rId61" Type="http://schemas.openxmlformats.org/officeDocument/2006/relationships/slideLayout" Target="../slideLayouts/slideLayout120.xml"/><Relationship Id="rId82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73.xml"/><Relationship Id="rId30" Type="http://schemas.openxmlformats.org/officeDocument/2006/relationships/slideLayout" Target="../slideLayouts/slideLayout89.xml"/><Relationship Id="rId35" Type="http://schemas.openxmlformats.org/officeDocument/2006/relationships/slideLayout" Target="../slideLayouts/slideLayout94.xml"/><Relationship Id="rId56" Type="http://schemas.openxmlformats.org/officeDocument/2006/relationships/slideLayout" Target="../slideLayouts/slideLayout115.xml"/><Relationship Id="rId77" Type="http://schemas.openxmlformats.org/officeDocument/2006/relationships/slideLayout" Target="../slideLayouts/slideLayout136.xml"/><Relationship Id="rId100" Type="http://schemas.openxmlformats.org/officeDocument/2006/relationships/image" Target="../media/image10.emf"/><Relationship Id="rId8" Type="http://schemas.openxmlformats.org/officeDocument/2006/relationships/slideLayout" Target="../slideLayouts/slideLayout67.xml"/><Relationship Id="rId51" Type="http://schemas.openxmlformats.org/officeDocument/2006/relationships/slideLayout" Target="../slideLayouts/slideLayout110.xml"/><Relationship Id="rId72" Type="http://schemas.openxmlformats.org/officeDocument/2006/relationships/slideLayout" Target="../slideLayouts/slideLayout131.xml"/><Relationship Id="rId93" Type="http://schemas.openxmlformats.org/officeDocument/2006/relationships/slideLayout" Target="../slideLayouts/slideLayout152.xml"/><Relationship Id="rId98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3570FDA4-5188-4CAC-BA53-A172F4403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65126"/>
            <a:ext cx="11337925" cy="710639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A74E863-F511-418D-9981-5E0855C69C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9811" y="1520825"/>
            <a:ext cx="11337925" cy="46085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Add first level body cop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E94BDCA-2536-4B88-8AFF-EA9D29B02A90}"/>
              </a:ext>
            </a:extLst>
          </p:cNvPr>
          <p:cNvGrpSpPr/>
          <p:nvPr/>
        </p:nvGrpSpPr>
        <p:grpSpPr>
          <a:xfrm>
            <a:off x="12073965" y="-3096"/>
            <a:ext cx="127000" cy="6858000"/>
            <a:chOff x="12073965" y="-3096"/>
            <a:chExt cx="127000" cy="6096000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B2B01A8-CAAB-4518-BE09-E624D27BF026}"/>
                </a:ext>
              </a:extLst>
            </p:cNvPr>
            <p:cNvSpPr/>
            <p:nvPr/>
          </p:nvSpPr>
          <p:spPr>
            <a:xfrm>
              <a:off x="12073965" y="-3096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500D2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4C9E94D-1565-4686-817D-23CABE0CC112}"/>
                </a:ext>
              </a:extLst>
            </p:cNvPr>
            <p:cNvSpPr/>
            <p:nvPr/>
          </p:nvSpPr>
          <p:spPr>
            <a:xfrm>
              <a:off x="12073965" y="758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96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3F77BBD-1B5B-40D7-B1E5-6219BFE27FE2}"/>
                </a:ext>
              </a:extLst>
            </p:cNvPr>
            <p:cNvSpPr/>
            <p:nvPr/>
          </p:nvSpPr>
          <p:spPr>
            <a:xfrm>
              <a:off x="12073965" y="377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650E35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D3D6627-0EFC-4C39-8842-444911AE6E29}"/>
                </a:ext>
              </a:extLst>
            </p:cNvPr>
            <p:cNvSpPr/>
            <p:nvPr/>
          </p:nvSpPr>
          <p:spPr>
            <a:xfrm>
              <a:off x="12073965" y="1139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A183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1D130F3B-87FD-4758-AA23-7FBE6A43346C}"/>
                </a:ext>
              </a:extLst>
            </p:cNvPr>
            <p:cNvSpPr/>
            <p:nvPr/>
          </p:nvSpPr>
          <p:spPr>
            <a:xfrm>
              <a:off x="12073965" y="3044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A183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EA45E26C-FFD1-46EC-9E53-5CEC439ACAAE}"/>
                </a:ext>
              </a:extLst>
            </p:cNvPr>
            <p:cNvSpPr/>
            <p:nvPr/>
          </p:nvSpPr>
          <p:spPr>
            <a:xfrm>
              <a:off x="12073965" y="3806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500D2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5A77EB6-9400-4B43-8D26-BBB55E581F43}"/>
                </a:ext>
              </a:extLst>
            </p:cNvPr>
            <p:cNvSpPr/>
            <p:nvPr/>
          </p:nvSpPr>
          <p:spPr>
            <a:xfrm>
              <a:off x="12073965" y="3425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96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BA377B7-8223-4995-8D1F-E841F6641D53}"/>
                </a:ext>
              </a:extLst>
            </p:cNvPr>
            <p:cNvSpPr/>
            <p:nvPr/>
          </p:nvSpPr>
          <p:spPr>
            <a:xfrm>
              <a:off x="12073965" y="4187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650E35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1F5CB352-51F4-416E-9843-2FDA2CDCFFD5}"/>
                </a:ext>
              </a:extLst>
            </p:cNvPr>
            <p:cNvSpPr/>
            <p:nvPr/>
          </p:nvSpPr>
          <p:spPr>
            <a:xfrm>
              <a:off x="12073965" y="1520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BE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864049F1-6F28-4BD5-A3F9-787894119F0C}"/>
                </a:ext>
              </a:extLst>
            </p:cNvPr>
            <p:cNvSpPr/>
            <p:nvPr/>
          </p:nvSpPr>
          <p:spPr>
            <a:xfrm>
              <a:off x="12073965" y="2282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F7721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BB56152-1B05-4C86-A657-63322BDB6C9C}"/>
                </a:ext>
              </a:extLst>
            </p:cNvPr>
            <p:cNvSpPr/>
            <p:nvPr/>
          </p:nvSpPr>
          <p:spPr>
            <a:xfrm>
              <a:off x="12073965" y="1901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DC0A34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767AB39A-DEC1-4733-932D-7B4E520D21F2}"/>
                </a:ext>
              </a:extLst>
            </p:cNvPr>
            <p:cNvSpPr/>
            <p:nvPr/>
          </p:nvSpPr>
          <p:spPr>
            <a:xfrm>
              <a:off x="12073965" y="2663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A5728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474560DA-5BC7-4BD1-B373-279BD363DCCB}"/>
                </a:ext>
              </a:extLst>
            </p:cNvPr>
            <p:cNvSpPr/>
            <p:nvPr/>
          </p:nvSpPr>
          <p:spPr>
            <a:xfrm>
              <a:off x="12073965" y="4568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88133E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53DA5BCB-D097-4706-8AFE-10AEE639F80C}"/>
                </a:ext>
              </a:extLst>
            </p:cNvPr>
            <p:cNvSpPr/>
            <p:nvPr/>
          </p:nvSpPr>
          <p:spPr>
            <a:xfrm>
              <a:off x="12073965" y="5330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8365C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F9B4E66-BB7A-45D0-80C0-4166893C05C5}"/>
                </a:ext>
              </a:extLst>
            </p:cNvPr>
            <p:cNvSpPr/>
            <p:nvPr/>
          </p:nvSpPr>
          <p:spPr>
            <a:xfrm>
              <a:off x="12073965" y="4949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F184C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7875DD7-D580-4E36-BF61-772DB9CA0278}"/>
                </a:ext>
              </a:extLst>
            </p:cNvPr>
            <p:cNvSpPr/>
            <p:nvPr/>
          </p:nvSpPr>
          <p:spPr>
            <a:xfrm>
              <a:off x="12073965" y="5711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B5A7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1663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4100" r:id="rId2"/>
    <p:sldLayoutId id="2147484123" r:id="rId3"/>
    <p:sldLayoutId id="214748412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 cap="none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3861">
          <p15:clr>
            <a:srgbClr val="F26B43"/>
          </p15:clr>
        </p15:guide>
        <p15:guide id="4" pos="7368">
          <p15:clr>
            <a:srgbClr val="F26B43"/>
          </p15:clr>
        </p15:guide>
        <p15:guide id="5" orient="horz" pos="845">
          <p15:clr>
            <a:srgbClr val="F26B43"/>
          </p15:clr>
        </p15:guide>
        <p15:guide id="6" orient="horz" pos="9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3570FDA4-5188-4CAC-BA53-A172F4403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6" y="365127"/>
            <a:ext cx="11337925" cy="710639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A74E863-F511-418D-9981-5E0855C69C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9812" y="1520825"/>
            <a:ext cx="11337925" cy="46085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Add first level body cop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E94BDCA-2536-4B88-8AFF-EA9D29B02A90}"/>
              </a:ext>
            </a:extLst>
          </p:cNvPr>
          <p:cNvGrpSpPr/>
          <p:nvPr userDrawn="1"/>
        </p:nvGrpSpPr>
        <p:grpSpPr>
          <a:xfrm>
            <a:off x="12073965" y="-3096"/>
            <a:ext cx="127000" cy="6858000"/>
            <a:chOff x="12073965" y="-3096"/>
            <a:chExt cx="127000" cy="6096000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B2B01A8-CAAB-4518-BE09-E624D27BF026}"/>
                </a:ext>
              </a:extLst>
            </p:cNvPr>
            <p:cNvSpPr/>
            <p:nvPr/>
          </p:nvSpPr>
          <p:spPr>
            <a:xfrm>
              <a:off x="12073965" y="-3096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500D2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4C9E94D-1565-4686-817D-23CABE0CC112}"/>
                </a:ext>
              </a:extLst>
            </p:cNvPr>
            <p:cNvSpPr/>
            <p:nvPr/>
          </p:nvSpPr>
          <p:spPr>
            <a:xfrm>
              <a:off x="12073965" y="758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96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3F77BBD-1B5B-40D7-B1E5-6219BFE27FE2}"/>
                </a:ext>
              </a:extLst>
            </p:cNvPr>
            <p:cNvSpPr/>
            <p:nvPr/>
          </p:nvSpPr>
          <p:spPr>
            <a:xfrm>
              <a:off x="12073965" y="377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650E35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D3D6627-0EFC-4C39-8842-444911AE6E29}"/>
                </a:ext>
              </a:extLst>
            </p:cNvPr>
            <p:cNvSpPr/>
            <p:nvPr/>
          </p:nvSpPr>
          <p:spPr>
            <a:xfrm>
              <a:off x="12073965" y="1139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A183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1D130F3B-87FD-4758-AA23-7FBE6A43346C}"/>
                </a:ext>
              </a:extLst>
            </p:cNvPr>
            <p:cNvSpPr/>
            <p:nvPr/>
          </p:nvSpPr>
          <p:spPr>
            <a:xfrm>
              <a:off x="12073965" y="3044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A183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EA45E26C-FFD1-46EC-9E53-5CEC439ACAAE}"/>
                </a:ext>
              </a:extLst>
            </p:cNvPr>
            <p:cNvSpPr/>
            <p:nvPr/>
          </p:nvSpPr>
          <p:spPr>
            <a:xfrm>
              <a:off x="12073965" y="3806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500D2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5A77EB6-9400-4B43-8D26-BBB55E581F43}"/>
                </a:ext>
              </a:extLst>
            </p:cNvPr>
            <p:cNvSpPr/>
            <p:nvPr/>
          </p:nvSpPr>
          <p:spPr>
            <a:xfrm>
              <a:off x="12073965" y="3425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96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BA377B7-8223-4995-8D1F-E841F6641D53}"/>
                </a:ext>
              </a:extLst>
            </p:cNvPr>
            <p:cNvSpPr/>
            <p:nvPr/>
          </p:nvSpPr>
          <p:spPr>
            <a:xfrm>
              <a:off x="12073965" y="4187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650E35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1F5CB352-51F4-416E-9843-2FDA2CDCFFD5}"/>
                </a:ext>
              </a:extLst>
            </p:cNvPr>
            <p:cNvSpPr/>
            <p:nvPr/>
          </p:nvSpPr>
          <p:spPr>
            <a:xfrm>
              <a:off x="12073965" y="1520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BE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864049F1-6F28-4BD5-A3F9-787894119F0C}"/>
                </a:ext>
              </a:extLst>
            </p:cNvPr>
            <p:cNvSpPr/>
            <p:nvPr/>
          </p:nvSpPr>
          <p:spPr>
            <a:xfrm>
              <a:off x="12073965" y="2282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F7721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BB56152-1B05-4C86-A657-63322BDB6C9C}"/>
                </a:ext>
              </a:extLst>
            </p:cNvPr>
            <p:cNvSpPr/>
            <p:nvPr/>
          </p:nvSpPr>
          <p:spPr>
            <a:xfrm>
              <a:off x="12073965" y="1901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DC0A34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767AB39A-DEC1-4733-932D-7B4E520D21F2}"/>
                </a:ext>
              </a:extLst>
            </p:cNvPr>
            <p:cNvSpPr/>
            <p:nvPr/>
          </p:nvSpPr>
          <p:spPr>
            <a:xfrm>
              <a:off x="12073965" y="2663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A5728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474560DA-5BC7-4BD1-B373-279BD363DCCB}"/>
                </a:ext>
              </a:extLst>
            </p:cNvPr>
            <p:cNvSpPr/>
            <p:nvPr/>
          </p:nvSpPr>
          <p:spPr>
            <a:xfrm>
              <a:off x="12073965" y="4568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88133E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53DA5BCB-D097-4706-8AFE-10AEE639F80C}"/>
                </a:ext>
              </a:extLst>
            </p:cNvPr>
            <p:cNvSpPr/>
            <p:nvPr/>
          </p:nvSpPr>
          <p:spPr>
            <a:xfrm>
              <a:off x="12073965" y="5330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8365C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F9B4E66-BB7A-45D0-80C0-4166893C05C5}"/>
                </a:ext>
              </a:extLst>
            </p:cNvPr>
            <p:cNvSpPr/>
            <p:nvPr/>
          </p:nvSpPr>
          <p:spPr>
            <a:xfrm>
              <a:off x="12073965" y="4949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F184C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7875DD7-D580-4E36-BF61-772DB9CA0278}"/>
                </a:ext>
              </a:extLst>
            </p:cNvPr>
            <p:cNvSpPr/>
            <p:nvPr/>
          </p:nvSpPr>
          <p:spPr>
            <a:xfrm>
              <a:off x="12073965" y="5711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B5A7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8995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  <p:sldLayoutId id="2147483930" r:id="rId10"/>
    <p:sldLayoutId id="2147483931" r:id="rId11"/>
    <p:sldLayoutId id="2147483932" r:id="rId12"/>
    <p:sldLayoutId id="2147483933" r:id="rId13"/>
    <p:sldLayoutId id="2147483934" r:id="rId14"/>
    <p:sldLayoutId id="2147483935" r:id="rId15"/>
    <p:sldLayoutId id="2147483936" r:id="rId16"/>
    <p:sldLayoutId id="2147483937" r:id="rId17"/>
    <p:sldLayoutId id="2147483938" r:id="rId18"/>
    <p:sldLayoutId id="2147483939" r:id="rId19"/>
    <p:sldLayoutId id="2147483940" r:id="rId20"/>
    <p:sldLayoutId id="2147483941" r:id="rId21"/>
    <p:sldLayoutId id="2147483942" r:id="rId22"/>
    <p:sldLayoutId id="2147483943" r:id="rId23"/>
    <p:sldLayoutId id="2147483944" r:id="rId24"/>
    <p:sldLayoutId id="2147483945" r:id="rId25"/>
    <p:sldLayoutId id="2147483946" r:id="rId26"/>
    <p:sldLayoutId id="2147483947" r:id="rId27"/>
    <p:sldLayoutId id="2147483948" r:id="rId28"/>
    <p:sldLayoutId id="2147483949" r:id="rId29"/>
    <p:sldLayoutId id="2147483950" r:id="rId30"/>
    <p:sldLayoutId id="2147483951" r:id="rId31"/>
    <p:sldLayoutId id="2147483952" r:id="rId32"/>
    <p:sldLayoutId id="2147483953" r:id="rId33"/>
    <p:sldLayoutId id="2147483954" r:id="rId34"/>
    <p:sldLayoutId id="2147483955" r:id="rId35"/>
    <p:sldLayoutId id="2147483956" r:id="rId36"/>
    <p:sldLayoutId id="2147483957" r:id="rId37"/>
    <p:sldLayoutId id="2147483958" r:id="rId38"/>
    <p:sldLayoutId id="2147483959" r:id="rId39"/>
    <p:sldLayoutId id="2147483960" r:id="rId40"/>
    <p:sldLayoutId id="2147483961" r:id="rId41"/>
    <p:sldLayoutId id="2147483962" r:id="rId42"/>
    <p:sldLayoutId id="2147483963" r:id="rId43"/>
    <p:sldLayoutId id="2147483964" r:id="rId44"/>
    <p:sldLayoutId id="2147483965" r:id="rId45"/>
    <p:sldLayoutId id="2147483966" r:id="rId46"/>
    <p:sldLayoutId id="2147483967" r:id="rId47"/>
    <p:sldLayoutId id="2147483968" r:id="rId48"/>
    <p:sldLayoutId id="2147483969" r:id="rId49"/>
    <p:sldLayoutId id="2147483970" r:id="rId50"/>
    <p:sldLayoutId id="2147483971" r:id="rId51"/>
    <p:sldLayoutId id="2147483972" r:id="rId52"/>
    <p:sldLayoutId id="2147483973" r:id="rId53"/>
    <p:sldLayoutId id="2147483974" r:id="rId54"/>
    <p:sldLayoutId id="2147483975" r:id="rId55"/>
  </p:sldLayoutIdLst>
  <p:txStyles>
    <p:titleStyle>
      <a:lvl1pPr algn="l" defTabSz="914378" rtl="0" eaLnBrk="1" latinLnBrk="0" hangingPunct="1">
        <a:lnSpc>
          <a:spcPct val="90000"/>
        </a:lnSpc>
        <a:spcBef>
          <a:spcPct val="0"/>
        </a:spcBef>
        <a:buNone/>
        <a:defRPr sz="3200" b="1" i="0" kern="1200" cap="none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594" indent="-228594" algn="l" defTabSz="914378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1pPr>
      <a:lvl2pPr marL="685783" indent="-228594" algn="l" defTabSz="914378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2pPr>
      <a:lvl3pPr marL="1142972" indent="-228594" algn="l" defTabSz="914378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3pPr>
      <a:lvl4pPr marL="1600160" indent="-228594" algn="l" defTabSz="914378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4pPr>
      <a:lvl5pPr marL="2057348" indent="-228594" algn="l" defTabSz="914378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537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3861">
          <p15:clr>
            <a:srgbClr val="F26B43"/>
          </p15:clr>
        </p15:guide>
        <p15:guide id="4" pos="7368">
          <p15:clr>
            <a:srgbClr val="F26B43"/>
          </p15:clr>
        </p15:guide>
        <p15:guide id="5" orient="horz" pos="845">
          <p15:clr>
            <a:srgbClr val="F26B43"/>
          </p15:clr>
        </p15:guide>
        <p15:guide id="6" orient="horz" pos="95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97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9" imgW="270" imgH="270" progId="TCLayout.ActiveDocument.1">
                  <p:embed/>
                </p:oleObj>
              </mc:Choice>
              <mc:Fallback>
                <p:oleObj name="think-cell Slide" r:id="rId99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0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8"/>
            </p:custDataLst>
          </p:nvPr>
        </p:nvSpPr>
        <p:spPr bwMode="gray">
          <a:xfrm>
            <a:off x="0" y="0"/>
            <a:ext cx="195385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spcBef>
                <a:spcPts val="300"/>
              </a:spcBef>
              <a:buFont typeface="Courier New" pitchFamily="49" charset="0"/>
              <a:buNone/>
            </a:pPr>
            <a:endParaRPr lang="en-US" sz="2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CE8F94F-1893-4874-89C8-4AF3D9DA989D}"/>
              </a:ext>
            </a:extLst>
          </p:cNvPr>
          <p:cNvSpPr txBox="1"/>
          <p:nvPr/>
        </p:nvSpPr>
        <p:spPr>
          <a:xfrm>
            <a:off x="6656700" y="6538785"/>
            <a:ext cx="5040000" cy="15406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 defTabSz="685800">
              <a:defRPr/>
            </a:pPr>
            <a:r>
              <a:rPr lang="en-GB" sz="638" cap="all">
                <a:solidFill>
                  <a:srgbClr val="4D4D4D"/>
                </a:solidFill>
                <a:cs typeface="Arial" panose="020B0604020202020204" pitchFamily="34" charset="0"/>
              </a:rPr>
              <a:t>INTERNAL ONLY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1AF9978-79B1-47C2-BAC6-B06FD0898A8A}"/>
              </a:ext>
            </a:extLst>
          </p:cNvPr>
          <p:cNvGrpSpPr/>
          <p:nvPr/>
        </p:nvGrpSpPr>
        <p:grpSpPr>
          <a:xfrm>
            <a:off x="12073965" y="-3096"/>
            <a:ext cx="127001" cy="6858000"/>
            <a:chOff x="12073965" y="-3096"/>
            <a:chExt cx="127000" cy="6096000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59AFF2A-C511-4FF5-93DF-B6C8A283C926}"/>
                </a:ext>
              </a:extLst>
            </p:cNvPr>
            <p:cNvSpPr/>
            <p:nvPr/>
          </p:nvSpPr>
          <p:spPr>
            <a:xfrm>
              <a:off x="12073965" y="-3096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500D2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>
                <a:solidFill>
                  <a:srgbClr val="4D4D4D"/>
                </a:solidFill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0B205D5C-6DBF-4E2E-90BB-F201C6D60E4A}"/>
                </a:ext>
              </a:extLst>
            </p:cNvPr>
            <p:cNvSpPr/>
            <p:nvPr/>
          </p:nvSpPr>
          <p:spPr>
            <a:xfrm>
              <a:off x="12073965" y="758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96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>
                <a:solidFill>
                  <a:srgbClr val="4D4D4D"/>
                </a:solidFill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9D58B0E-3B38-469F-82A8-E22EE4EFBA77}"/>
                </a:ext>
              </a:extLst>
            </p:cNvPr>
            <p:cNvSpPr/>
            <p:nvPr/>
          </p:nvSpPr>
          <p:spPr>
            <a:xfrm>
              <a:off x="12073965" y="377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650E35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>
                <a:solidFill>
                  <a:srgbClr val="4D4D4D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7C8DFD0-51E4-42AD-9DF9-682FD86BC957}"/>
                </a:ext>
              </a:extLst>
            </p:cNvPr>
            <p:cNvSpPr/>
            <p:nvPr/>
          </p:nvSpPr>
          <p:spPr>
            <a:xfrm>
              <a:off x="12073965" y="1139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A183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>
                <a:solidFill>
                  <a:srgbClr val="4D4D4D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8585C1E-7A0E-4F53-ABB0-CDF4769CCB4C}"/>
                </a:ext>
              </a:extLst>
            </p:cNvPr>
            <p:cNvSpPr/>
            <p:nvPr/>
          </p:nvSpPr>
          <p:spPr>
            <a:xfrm>
              <a:off x="12073965" y="3044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A183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>
                <a:solidFill>
                  <a:srgbClr val="4D4D4D"/>
                </a:solidFill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48EEE69-3616-419F-BB35-1F05FACC0AB8}"/>
                </a:ext>
              </a:extLst>
            </p:cNvPr>
            <p:cNvSpPr/>
            <p:nvPr/>
          </p:nvSpPr>
          <p:spPr>
            <a:xfrm>
              <a:off x="12073965" y="3806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500D2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>
                <a:solidFill>
                  <a:srgbClr val="4D4D4D"/>
                </a:solidFill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8EEC0A3-7F93-4031-A8F1-ADD0383D5305}"/>
                </a:ext>
              </a:extLst>
            </p:cNvPr>
            <p:cNvSpPr/>
            <p:nvPr/>
          </p:nvSpPr>
          <p:spPr>
            <a:xfrm>
              <a:off x="12073965" y="3425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96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>
                <a:solidFill>
                  <a:srgbClr val="4D4D4D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5069A6B-9BB2-476A-BCE6-C8433FBB4A28}"/>
                </a:ext>
              </a:extLst>
            </p:cNvPr>
            <p:cNvSpPr/>
            <p:nvPr/>
          </p:nvSpPr>
          <p:spPr>
            <a:xfrm>
              <a:off x="12073965" y="4187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650E35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>
                <a:solidFill>
                  <a:srgbClr val="4D4D4D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678D2E2-AF18-42E0-898F-16480F3ACCB7}"/>
                </a:ext>
              </a:extLst>
            </p:cNvPr>
            <p:cNvSpPr/>
            <p:nvPr/>
          </p:nvSpPr>
          <p:spPr>
            <a:xfrm>
              <a:off x="12073965" y="1520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BE172B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>
                <a:solidFill>
                  <a:srgbClr val="4D4D4D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26D7935-17B1-43A0-9B38-8C04FED80733}"/>
                </a:ext>
              </a:extLst>
            </p:cNvPr>
            <p:cNvSpPr/>
            <p:nvPr/>
          </p:nvSpPr>
          <p:spPr>
            <a:xfrm>
              <a:off x="12073965" y="2282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F7721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>
                <a:solidFill>
                  <a:srgbClr val="4D4D4D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2716AF1-2642-4236-90C5-547B5CB32F5A}"/>
                </a:ext>
              </a:extLst>
            </p:cNvPr>
            <p:cNvSpPr/>
            <p:nvPr/>
          </p:nvSpPr>
          <p:spPr>
            <a:xfrm>
              <a:off x="12073965" y="1901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DC0A34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>
                <a:solidFill>
                  <a:srgbClr val="4D4D4D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F2413FC-ABF5-4257-A414-E4589D1DF571}"/>
                </a:ext>
              </a:extLst>
            </p:cNvPr>
            <p:cNvSpPr/>
            <p:nvPr/>
          </p:nvSpPr>
          <p:spPr>
            <a:xfrm>
              <a:off x="12073965" y="2663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A5728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>
                <a:solidFill>
                  <a:srgbClr val="4D4D4D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9A9C6E8-6C2C-4C4B-87B7-69F7C88A7A94}"/>
                </a:ext>
              </a:extLst>
            </p:cNvPr>
            <p:cNvSpPr/>
            <p:nvPr/>
          </p:nvSpPr>
          <p:spPr>
            <a:xfrm>
              <a:off x="12073965" y="4568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88133E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>
                <a:solidFill>
                  <a:srgbClr val="4D4D4D"/>
                </a:solidFill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A8AA545-BB1D-4415-820F-4134EF1551C5}"/>
                </a:ext>
              </a:extLst>
            </p:cNvPr>
            <p:cNvSpPr/>
            <p:nvPr/>
          </p:nvSpPr>
          <p:spPr>
            <a:xfrm>
              <a:off x="12073965" y="5330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8365C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>
                <a:solidFill>
                  <a:srgbClr val="4D4D4D"/>
                </a:solidFill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8D2EDC5-E7F6-4DAE-A3E3-64F2460D0C74}"/>
                </a:ext>
              </a:extLst>
            </p:cNvPr>
            <p:cNvSpPr/>
            <p:nvPr/>
          </p:nvSpPr>
          <p:spPr>
            <a:xfrm>
              <a:off x="12073965" y="4949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AF184C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>
                <a:solidFill>
                  <a:srgbClr val="4D4D4D"/>
                </a:solidFill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AAA8A36-8E6C-4A8D-A807-EEFA4B5026D1}"/>
                </a:ext>
              </a:extLst>
            </p:cNvPr>
            <p:cNvSpPr/>
            <p:nvPr/>
          </p:nvSpPr>
          <p:spPr>
            <a:xfrm>
              <a:off x="12073965" y="5711904"/>
              <a:ext cx="127000" cy="381000"/>
            </a:xfrm>
            <a:custGeom>
              <a:avLst/>
              <a:gdLst>
                <a:gd name="connsiteX0" fmla="*/ 3096 w 127000"/>
                <a:gd name="connsiteY0" fmla="*/ 3096 h 381000"/>
                <a:gd name="connsiteX1" fmla="*/ 128826 w 127000"/>
                <a:gd name="connsiteY1" fmla="*/ 3096 h 381000"/>
                <a:gd name="connsiteX2" fmla="*/ 128826 w 127000"/>
                <a:gd name="connsiteY2" fmla="*/ 384096 h 381000"/>
                <a:gd name="connsiteX3" fmla="*/ 3096 w 127000"/>
                <a:gd name="connsiteY3" fmla="*/ 384096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381000">
                  <a:moveTo>
                    <a:pt x="3096" y="3096"/>
                  </a:moveTo>
                  <a:lnTo>
                    <a:pt x="128826" y="3096"/>
                  </a:lnTo>
                  <a:lnTo>
                    <a:pt x="128826" y="384096"/>
                  </a:lnTo>
                  <a:lnTo>
                    <a:pt x="3096" y="384096"/>
                  </a:lnTo>
                  <a:close/>
                </a:path>
              </a:pathLst>
            </a:custGeom>
            <a:solidFill>
              <a:srgbClr val="EB5A79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>
                <a:solidFill>
                  <a:srgbClr val="4D4D4D"/>
                </a:solidFill>
              </a:endParaRPr>
            </a:p>
          </p:txBody>
        </p:sp>
      </p:grp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3570FDA4-5188-4CAC-BA53-A172F4403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445814"/>
            <a:ext cx="11337925" cy="710639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A74E863-F511-418D-9981-5E0855C69C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775" y="1449387"/>
            <a:ext cx="11337925" cy="4679951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/>
              <a:t>Add first level body cop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357B978-5EA7-4B3C-BB4B-6742174E30D9}"/>
              </a:ext>
            </a:extLst>
          </p:cNvPr>
          <p:cNvSpPr txBox="1"/>
          <p:nvPr/>
        </p:nvSpPr>
        <p:spPr>
          <a:xfrm>
            <a:off x="349813" y="6538782"/>
            <a:ext cx="401714" cy="15406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fld id="{13D9B5B3-34F1-4574-8603-EBF049354228}" type="slidenum">
              <a:rPr lang="en-GB" sz="638" smtClean="0">
                <a:solidFill>
                  <a:srgbClr val="4D4D4D"/>
                </a:solidFill>
                <a:cs typeface="Arial" panose="020B0604020202020204" pitchFamily="34" charset="0"/>
              </a:rPr>
              <a:pPr/>
              <a:t>‹#›</a:t>
            </a:fld>
            <a:r>
              <a:rPr lang="en-GB" sz="638">
                <a:solidFill>
                  <a:srgbClr val="4D4D4D"/>
                </a:solidFill>
                <a:cs typeface="Arial" panose="020B0604020202020204" pitchFamily="34" charset="0"/>
              </a:rPr>
              <a:t>  |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B838113-2299-44E3-AB16-DF8AFC74CDCC}"/>
              </a:ext>
            </a:extLst>
          </p:cNvPr>
          <p:cNvCxnSpPr/>
          <p:nvPr/>
        </p:nvCxnSpPr>
        <p:spPr>
          <a:xfrm>
            <a:off x="358777" y="6373632"/>
            <a:ext cx="11337925" cy="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15B7EC5D-2467-4F15-A6D7-54466639DABC}"/>
              </a:ext>
            </a:extLst>
          </p:cNvPr>
          <p:cNvSpPr txBox="1"/>
          <p:nvPr userDrawn="1"/>
        </p:nvSpPr>
        <p:spPr>
          <a:xfrm>
            <a:off x="796351" y="6538785"/>
            <a:ext cx="5040000" cy="15406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685800">
              <a:defRPr/>
            </a:pPr>
            <a:r>
              <a:rPr lang="en-US" sz="638">
                <a:solidFill>
                  <a:srgbClr val="4D4D4D"/>
                </a:solidFill>
                <a:cs typeface="Arial" panose="020B0604020202020204" pitchFamily="34" charset="0"/>
              </a:rPr>
              <a:t>AVAF – Credit Risk Committee </a:t>
            </a:r>
            <a:r>
              <a:rPr lang="en-US" sz="638" baseline="0">
                <a:solidFill>
                  <a:srgbClr val="4D4D4D"/>
                </a:solidFill>
                <a:cs typeface="Arial" panose="020B0604020202020204" pitchFamily="34" charset="0"/>
              </a:rPr>
              <a:t>– January 2024</a:t>
            </a:r>
            <a:endParaRPr lang="en-GB" sz="638">
              <a:solidFill>
                <a:srgbClr val="4D4D4D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0127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  <p:sldLayoutId id="2147483981" r:id="rId5"/>
    <p:sldLayoutId id="2147483982" r:id="rId6"/>
    <p:sldLayoutId id="2147483983" r:id="rId7"/>
    <p:sldLayoutId id="2147483984" r:id="rId8"/>
    <p:sldLayoutId id="2147483985" r:id="rId9"/>
    <p:sldLayoutId id="2147483986" r:id="rId10"/>
    <p:sldLayoutId id="2147483987" r:id="rId11"/>
    <p:sldLayoutId id="2147483988" r:id="rId12"/>
    <p:sldLayoutId id="2147483989" r:id="rId13"/>
    <p:sldLayoutId id="2147483990" r:id="rId14"/>
    <p:sldLayoutId id="2147483991" r:id="rId15"/>
    <p:sldLayoutId id="2147483992" r:id="rId16"/>
    <p:sldLayoutId id="2147483993" r:id="rId17"/>
    <p:sldLayoutId id="2147483994" r:id="rId18"/>
    <p:sldLayoutId id="2147483995" r:id="rId19"/>
    <p:sldLayoutId id="2147483996" r:id="rId20"/>
    <p:sldLayoutId id="2147483997" r:id="rId21"/>
    <p:sldLayoutId id="2147483998" r:id="rId22"/>
    <p:sldLayoutId id="2147483999" r:id="rId23"/>
    <p:sldLayoutId id="2147484000" r:id="rId24"/>
    <p:sldLayoutId id="2147484001" r:id="rId25"/>
    <p:sldLayoutId id="2147484002" r:id="rId26"/>
    <p:sldLayoutId id="2147484003" r:id="rId27"/>
    <p:sldLayoutId id="2147484004" r:id="rId28"/>
    <p:sldLayoutId id="2147484005" r:id="rId29"/>
    <p:sldLayoutId id="2147484006" r:id="rId30"/>
    <p:sldLayoutId id="2147484007" r:id="rId31"/>
    <p:sldLayoutId id="2147484008" r:id="rId32"/>
    <p:sldLayoutId id="2147484009" r:id="rId33"/>
    <p:sldLayoutId id="2147484010" r:id="rId34"/>
    <p:sldLayoutId id="2147484011" r:id="rId35"/>
    <p:sldLayoutId id="2147484012" r:id="rId36"/>
    <p:sldLayoutId id="2147484013" r:id="rId37"/>
    <p:sldLayoutId id="2147484014" r:id="rId38"/>
    <p:sldLayoutId id="2147484015" r:id="rId39"/>
    <p:sldLayoutId id="2147484016" r:id="rId40"/>
    <p:sldLayoutId id="2147484017" r:id="rId41"/>
    <p:sldLayoutId id="2147484018" r:id="rId42"/>
    <p:sldLayoutId id="2147484019" r:id="rId43"/>
    <p:sldLayoutId id="2147484020" r:id="rId44"/>
    <p:sldLayoutId id="2147484021" r:id="rId45"/>
    <p:sldLayoutId id="2147484022" r:id="rId46"/>
    <p:sldLayoutId id="2147484023" r:id="rId47"/>
    <p:sldLayoutId id="2147484024" r:id="rId48"/>
    <p:sldLayoutId id="2147484025" r:id="rId49"/>
    <p:sldLayoutId id="2147484026" r:id="rId50"/>
    <p:sldLayoutId id="2147484027" r:id="rId51"/>
    <p:sldLayoutId id="2147484028" r:id="rId52"/>
    <p:sldLayoutId id="2147484029" r:id="rId53"/>
    <p:sldLayoutId id="2147484030" r:id="rId54"/>
    <p:sldLayoutId id="2147484031" r:id="rId55"/>
    <p:sldLayoutId id="2147484032" r:id="rId56"/>
    <p:sldLayoutId id="2147484033" r:id="rId57"/>
    <p:sldLayoutId id="2147484034" r:id="rId58"/>
    <p:sldLayoutId id="2147484035" r:id="rId59"/>
    <p:sldLayoutId id="2147484036" r:id="rId60"/>
    <p:sldLayoutId id="2147484037" r:id="rId61"/>
    <p:sldLayoutId id="2147484038" r:id="rId62"/>
    <p:sldLayoutId id="2147484039" r:id="rId63"/>
    <p:sldLayoutId id="2147484040" r:id="rId64"/>
    <p:sldLayoutId id="2147484041" r:id="rId65"/>
    <p:sldLayoutId id="2147484042" r:id="rId66"/>
    <p:sldLayoutId id="2147484043" r:id="rId67"/>
    <p:sldLayoutId id="2147484044" r:id="rId68"/>
    <p:sldLayoutId id="2147484045" r:id="rId69"/>
    <p:sldLayoutId id="2147484046" r:id="rId70"/>
    <p:sldLayoutId id="2147484047" r:id="rId71"/>
    <p:sldLayoutId id="2147484048" r:id="rId72"/>
    <p:sldLayoutId id="2147484049" r:id="rId73"/>
    <p:sldLayoutId id="2147484050" r:id="rId74"/>
    <p:sldLayoutId id="2147484051" r:id="rId75"/>
    <p:sldLayoutId id="2147484052" r:id="rId76"/>
    <p:sldLayoutId id="2147484053" r:id="rId77"/>
    <p:sldLayoutId id="2147484054" r:id="rId78"/>
    <p:sldLayoutId id="2147484055" r:id="rId79"/>
    <p:sldLayoutId id="2147484056" r:id="rId80"/>
    <p:sldLayoutId id="2147484057" r:id="rId81"/>
    <p:sldLayoutId id="2147484058" r:id="rId82"/>
    <p:sldLayoutId id="2147484059" r:id="rId83"/>
    <p:sldLayoutId id="2147484060" r:id="rId84"/>
    <p:sldLayoutId id="2147484061" r:id="rId85"/>
    <p:sldLayoutId id="2147484062" r:id="rId86"/>
    <p:sldLayoutId id="2147484063" r:id="rId87"/>
    <p:sldLayoutId id="2147484064" r:id="rId88"/>
    <p:sldLayoutId id="2147484065" r:id="rId89"/>
    <p:sldLayoutId id="2147484066" r:id="rId90"/>
    <p:sldLayoutId id="2147484067" r:id="rId91"/>
    <p:sldLayoutId id="2147484068" r:id="rId92"/>
    <p:sldLayoutId id="2147484069" r:id="rId93"/>
    <p:sldLayoutId id="2147484103" r:id="rId94"/>
    <p:sldLayoutId id="2147484104" r:id="rId95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i="0" kern="1200" cap="none" baseline="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8">
          <p15:clr>
            <a:srgbClr val="F26B43"/>
          </p15:clr>
        </p15:guide>
        <p15:guide id="2" pos="184">
          <p15:clr>
            <a:srgbClr val="F26B43"/>
          </p15:clr>
        </p15:guide>
        <p15:guide id="3" orient="horz" pos="3861">
          <p15:clr>
            <a:srgbClr val="F26B43"/>
          </p15:clr>
        </p15:guide>
        <p15:guide id="4" pos="5987">
          <p15:clr>
            <a:srgbClr val="F26B43"/>
          </p15:clr>
        </p15:guide>
        <p15:guide id="5" orient="horz" pos="91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BBEBF2-79E4-A5DE-902D-539E1B5505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E31F602-0066-2968-CD62-A6E2797BF51F}"/>
              </a:ext>
            </a:extLst>
          </p:cNvPr>
          <p:cNvSpPr/>
          <p:nvPr/>
        </p:nvSpPr>
        <p:spPr bwMode="gray">
          <a:xfrm>
            <a:off x="0" y="0"/>
            <a:ext cx="12070080" cy="6858000"/>
          </a:xfrm>
          <a:prstGeom prst="rect">
            <a:avLst/>
          </a:prstGeom>
          <a:blipFill>
            <a:blip r:embed="rId3">
              <a:alphaModFix amt="85000"/>
            </a:blip>
            <a:stretch>
              <a:fillRect/>
            </a:stretch>
          </a:blip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ZA" sz="16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E22ADBD-E775-6AED-5131-6ECAD95F089A}"/>
              </a:ext>
            </a:extLst>
          </p:cNvPr>
          <p:cNvGrpSpPr/>
          <p:nvPr/>
        </p:nvGrpSpPr>
        <p:grpSpPr>
          <a:xfrm>
            <a:off x="-4146698" y="0"/>
            <a:ext cx="6858000" cy="6858000"/>
            <a:chOff x="0" y="0"/>
            <a:chExt cx="6858000" cy="6858000"/>
          </a:xfrm>
          <a:solidFill>
            <a:schemeClr val="tx2">
              <a:lumMod val="5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4CBCFAF-763B-2878-2B6C-5F4AE41C0009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14475046-592F-5B9F-3643-53AA2226D1E7}"/>
                </a:ext>
              </a:extLst>
            </p:cNvPr>
            <p:cNvSpPr/>
            <p:nvPr/>
          </p:nvSpPr>
          <p:spPr bwMode="gray">
            <a:xfrm>
              <a:off x="6236208" y="5897880"/>
              <a:ext cx="621792" cy="960120"/>
            </a:xfrm>
            <a:prstGeom prst="round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64B2A5C-F644-C449-85AE-7D213A98765E}"/>
              </a:ext>
            </a:extLst>
          </p:cNvPr>
          <p:cNvGrpSpPr/>
          <p:nvPr/>
        </p:nvGrpSpPr>
        <p:grpSpPr>
          <a:xfrm>
            <a:off x="-4457594" y="0"/>
            <a:ext cx="6890004" cy="6858000"/>
            <a:chOff x="0" y="0"/>
            <a:chExt cx="6890004" cy="6858000"/>
          </a:xfrm>
          <a:solidFill>
            <a:srgbClr val="F4772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A852B1F-5F61-52A1-9969-9AC9CD098A88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63233C2C-E478-075E-C0BF-22CF00AB871C}"/>
                </a:ext>
              </a:extLst>
            </p:cNvPr>
            <p:cNvSpPr/>
            <p:nvPr/>
          </p:nvSpPr>
          <p:spPr bwMode="gray">
            <a:xfrm>
              <a:off x="6268212" y="5096149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B70544C-8C1D-9BFD-211A-95DD084EA22C}"/>
              </a:ext>
            </a:extLst>
          </p:cNvPr>
          <p:cNvGrpSpPr/>
          <p:nvPr/>
        </p:nvGrpSpPr>
        <p:grpSpPr>
          <a:xfrm>
            <a:off x="-4754774" y="0"/>
            <a:ext cx="6894576" cy="6858000"/>
            <a:chOff x="0" y="0"/>
            <a:chExt cx="6894576" cy="6858000"/>
          </a:xfrm>
          <a:solidFill>
            <a:schemeClr val="accent1">
              <a:lumMod val="60000"/>
              <a:lumOff val="4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695FE0D-8CAA-48CE-351C-A4DAE753A72E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9BF2D11D-0C6B-F193-385D-11D056CAC31F}"/>
                </a:ext>
              </a:extLst>
            </p:cNvPr>
            <p:cNvSpPr/>
            <p:nvPr/>
          </p:nvSpPr>
          <p:spPr bwMode="gray">
            <a:xfrm>
              <a:off x="6272784" y="4250799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1E411E2-72B2-DFD5-7D59-26063925E9E2}"/>
              </a:ext>
            </a:extLst>
          </p:cNvPr>
          <p:cNvGrpSpPr/>
          <p:nvPr/>
        </p:nvGrpSpPr>
        <p:grpSpPr>
          <a:xfrm>
            <a:off x="-5008520" y="0"/>
            <a:ext cx="6864858" cy="6858000"/>
            <a:chOff x="0" y="0"/>
            <a:chExt cx="6864858" cy="6858000"/>
          </a:xfrm>
          <a:solidFill>
            <a:schemeClr val="bg2">
              <a:lumMod val="5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D91435D-4751-8DA5-780B-C9649AEE2FE4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E73F8EDB-3EA8-A01D-84F9-1DD2FF474855}"/>
                </a:ext>
              </a:extLst>
            </p:cNvPr>
            <p:cNvSpPr/>
            <p:nvPr/>
          </p:nvSpPr>
          <p:spPr bwMode="gray">
            <a:xfrm>
              <a:off x="6243066" y="3402058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1514236-A103-9E3A-880B-B08F188597D3}"/>
              </a:ext>
            </a:extLst>
          </p:cNvPr>
          <p:cNvGrpSpPr/>
          <p:nvPr/>
        </p:nvGrpSpPr>
        <p:grpSpPr>
          <a:xfrm>
            <a:off x="-5285817" y="0"/>
            <a:ext cx="6854176" cy="6858000"/>
            <a:chOff x="0" y="0"/>
            <a:chExt cx="6854176" cy="6858000"/>
          </a:xfrm>
          <a:solidFill>
            <a:srgbClr val="500A28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7E4EBEA-40C8-16B2-AD37-95B15ADA3B71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2D11D675-DC4E-CCA9-6AF6-6D555A822D5A}"/>
                </a:ext>
              </a:extLst>
            </p:cNvPr>
            <p:cNvSpPr/>
            <p:nvPr/>
          </p:nvSpPr>
          <p:spPr bwMode="gray">
            <a:xfrm>
              <a:off x="6232384" y="2598162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5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BA6916C-7A9E-128F-E20E-011D679FCBDC}"/>
              </a:ext>
            </a:extLst>
          </p:cNvPr>
          <p:cNvGrpSpPr/>
          <p:nvPr/>
        </p:nvGrpSpPr>
        <p:grpSpPr>
          <a:xfrm>
            <a:off x="-5448898" y="0"/>
            <a:ext cx="6874993" cy="6858000"/>
            <a:chOff x="0" y="0"/>
            <a:chExt cx="6874993" cy="6858000"/>
          </a:xfrm>
          <a:solidFill>
            <a:schemeClr val="accent1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CC1E810-AC48-9065-D075-EFE4858D58E0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74B2493D-A7D9-5108-C92C-28FDCEFEE0FC}"/>
                </a:ext>
              </a:extLst>
            </p:cNvPr>
            <p:cNvSpPr/>
            <p:nvPr/>
          </p:nvSpPr>
          <p:spPr bwMode="gray">
            <a:xfrm>
              <a:off x="6253201" y="1749421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6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7F068B6-93AE-5674-F920-E70F074C7A01}"/>
              </a:ext>
            </a:extLst>
          </p:cNvPr>
          <p:cNvGrpSpPr/>
          <p:nvPr/>
        </p:nvGrpSpPr>
        <p:grpSpPr>
          <a:xfrm>
            <a:off x="-5616786" y="0"/>
            <a:ext cx="6864858" cy="6858000"/>
            <a:chOff x="0" y="0"/>
            <a:chExt cx="6864858" cy="6858000"/>
          </a:xfrm>
          <a:solidFill>
            <a:schemeClr val="tx2">
              <a:lumMod val="40000"/>
              <a:lumOff val="6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288EE3A-CA51-734A-CA00-89D9EF0A1223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9AC79DA6-2554-FC7B-0A4F-9732ED71F552}"/>
                </a:ext>
              </a:extLst>
            </p:cNvPr>
            <p:cNvSpPr/>
            <p:nvPr/>
          </p:nvSpPr>
          <p:spPr bwMode="gray">
            <a:xfrm>
              <a:off x="6243066" y="819021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7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F8938B6-13D7-1D91-53EF-6260C90E21AA}"/>
              </a:ext>
            </a:extLst>
          </p:cNvPr>
          <p:cNvGrpSpPr/>
          <p:nvPr/>
        </p:nvGrpSpPr>
        <p:grpSpPr>
          <a:xfrm>
            <a:off x="-5849979" y="-29720"/>
            <a:ext cx="6824903" cy="6860778"/>
            <a:chOff x="0" y="-2778"/>
            <a:chExt cx="6824903" cy="6860778"/>
          </a:xfrm>
          <a:solidFill>
            <a:srgbClr val="DC0032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26DCDBBF-68A1-B0E9-A6E2-94173AD2EDFF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1B5C86B7-6199-50BD-7DAF-D80BCA557F39}"/>
                </a:ext>
              </a:extLst>
            </p:cNvPr>
            <p:cNvSpPr/>
            <p:nvPr/>
          </p:nvSpPr>
          <p:spPr bwMode="gray">
            <a:xfrm>
              <a:off x="6203111" y="-2778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8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06E7679F-8FBF-F17B-571A-943DB99B6A61}"/>
              </a:ext>
            </a:extLst>
          </p:cNvPr>
          <p:cNvSpPr txBox="1"/>
          <p:nvPr/>
        </p:nvSpPr>
        <p:spPr bwMode="gray">
          <a:xfrm>
            <a:off x="3678154" y="114790"/>
            <a:ext cx="6197600" cy="9618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3000" b="1" dirty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BSA BUSINESS CASE STUDY</a:t>
            </a:r>
          </a:p>
          <a:p>
            <a:pPr algn="ctr">
              <a:spcBef>
                <a:spcPts val="300"/>
              </a:spcBef>
            </a:pPr>
            <a:r>
              <a:rPr lang="en-US" sz="3000" b="1" dirty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QYF INTERNSHIP 2026</a:t>
            </a:r>
            <a:endParaRPr lang="en-ZA" sz="3000" b="1" dirty="0">
              <a:solidFill>
                <a:schemeClr val="tx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A3BAABE-0F6E-DF1F-B035-7902FA7159B9}"/>
              </a:ext>
            </a:extLst>
          </p:cNvPr>
          <p:cNvSpPr txBox="1"/>
          <p:nvPr/>
        </p:nvSpPr>
        <p:spPr bwMode="gray">
          <a:xfrm>
            <a:off x="3914163" y="1191382"/>
            <a:ext cx="5773479" cy="4135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t">
              <a:lnSpc>
                <a:spcPts val="1500"/>
              </a:lnSpc>
              <a:buNone/>
            </a:pPr>
            <a:r>
              <a:rPr lang="en-US" sz="2000" b="1" dirty="0">
                <a:solidFill>
                  <a:schemeClr val="bg1"/>
                </a:solidFill>
                <a:latin typeface="Segoe UI" panose="020B0502040204020203" pitchFamily="34" charset="0"/>
              </a:rPr>
              <a:t>Predicting Flood Frequency &amp; Severity for CZR Insurance Group</a:t>
            </a:r>
          </a:p>
        </p:txBody>
      </p:sp>
    </p:spTree>
    <p:extLst>
      <p:ext uri="{BB962C8B-B14F-4D97-AF65-F5344CB8AC3E}">
        <p14:creationId xmlns:p14="http://schemas.microsoft.com/office/powerpoint/2010/main" val="8629105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891998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8FE0B2-E09C-F101-FC33-51ED612949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0A7FEEB-73A5-D7BE-D219-059E2DDFEBE5}"/>
              </a:ext>
            </a:extLst>
          </p:cNvPr>
          <p:cNvSpPr/>
          <p:nvPr/>
        </p:nvSpPr>
        <p:spPr bwMode="gray">
          <a:xfrm>
            <a:off x="0" y="0"/>
            <a:ext cx="12070080" cy="6858000"/>
          </a:xfrm>
          <a:prstGeom prst="rect">
            <a:avLst/>
          </a:prstGeom>
          <a:blipFill dpi="0" rotWithShape="1">
            <a:blip r:embed="rId3">
              <a:alphaModFix amt="35000"/>
            </a:blip>
            <a:srcRect/>
            <a:stretch>
              <a:fillRect/>
            </a:stretch>
          </a:blip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ZA" sz="16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2A78C36-DBD1-6EFB-C65C-41823E3B5DD8}"/>
              </a:ext>
            </a:extLst>
          </p:cNvPr>
          <p:cNvGrpSpPr/>
          <p:nvPr/>
        </p:nvGrpSpPr>
        <p:grpSpPr>
          <a:xfrm>
            <a:off x="1522239" y="0"/>
            <a:ext cx="7479154" cy="6858000"/>
            <a:chOff x="0" y="0"/>
            <a:chExt cx="6858000" cy="6858000"/>
          </a:xfrm>
          <a:solidFill>
            <a:schemeClr val="tx2">
              <a:lumMod val="5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FAEF67C-5574-1940-3718-96A57DD6067E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E38DEC46-AB98-7FB8-5F69-DF0A79C85234}"/>
                </a:ext>
              </a:extLst>
            </p:cNvPr>
            <p:cNvSpPr/>
            <p:nvPr/>
          </p:nvSpPr>
          <p:spPr bwMode="gray">
            <a:xfrm>
              <a:off x="6236208" y="5897880"/>
              <a:ext cx="621792" cy="960120"/>
            </a:xfrm>
            <a:prstGeom prst="round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</a:t>
              </a:r>
              <a:endParaRPr lang="en-ZA" sz="5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B67F0D7-32DE-0129-1513-2D2F4957211A}"/>
              </a:ext>
            </a:extLst>
          </p:cNvPr>
          <p:cNvGrpSpPr/>
          <p:nvPr/>
        </p:nvGrpSpPr>
        <p:grpSpPr>
          <a:xfrm>
            <a:off x="-4457594" y="0"/>
            <a:ext cx="6890004" cy="6858000"/>
            <a:chOff x="0" y="0"/>
            <a:chExt cx="6890004" cy="6858000"/>
          </a:xfrm>
          <a:solidFill>
            <a:srgbClr val="F4772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B18DBFE-C10B-E6DE-C317-06844C56ED00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DBF8E900-2D60-C6A9-8F9C-DD1F4FEC83A6}"/>
                </a:ext>
              </a:extLst>
            </p:cNvPr>
            <p:cNvSpPr/>
            <p:nvPr/>
          </p:nvSpPr>
          <p:spPr bwMode="gray">
            <a:xfrm>
              <a:off x="6268212" y="5096149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</a:t>
              </a:r>
              <a:endParaRPr lang="en-ZA" sz="5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A50E01D-C304-5BA9-80B6-D49DF933F5EE}"/>
              </a:ext>
            </a:extLst>
          </p:cNvPr>
          <p:cNvGrpSpPr/>
          <p:nvPr/>
        </p:nvGrpSpPr>
        <p:grpSpPr>
          <a:xfrm>
            <a:off x="-4754774" y="0"/>
            <a:ext cx="6894576" cy="6858000"/>
            <a:chOff x="0" y="0"/>
            <a:chExt cx="6894576" cy="6858000"/>
          </a:xfrm>
          <a:solidFill>
            <a:schemeClr val="accent1">
              <a:lumMod val="60000"/>
              <a:lumOff val="4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6F95A13-6DE3-E632-A15A-1B87B4A73114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853DBFCE-4D2D-52B5-8632-457C222D1111}"/>
                </a:ext>
              </a:extLst>
            </p:cNvPr>
            <p:cNvSpPr/>
            <p:nvPr/>
          </p:nvSpPr>
          <p:spPr bwMode="gray">
            <a:xfrm>
              <a:off x="6272784" y="4250799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en-ZA" sz="5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3F8C1E3-F356-E227-5846-F48DABFD930C}"/>
              </a:ext>
            </a:extLst>
          </p:cNvPr>
          <p:cNvGrpSpPr/>
          <p:nvPr/>
        </p:nvGrpSpPr>
        <p:grpSpPr>
          <a:xfrm>
            <a:off x="-5008520" y="0"/>
            <a:ext cx="6864858" cy="6858000"/>
            <a:chOff x="0" y="0"/>
            <a:chExt cx="6864858" cy="6858000"/>
          </a:xfrm>
          <a:solidFill>
            <a:schemeClr val="bg2">
              <a:lumMod val="5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0C32192-29DB-19AC-3172-0D1C9D5F509D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57E8F669-418B-96AC-3D11-627E343E1C0D}"/>
                </a:ext>
              </a:extLst>
            </p:cNvPr>
            <p:cNvSpPr/>
            <p:nvPr/>
          </p:nvSpPr>
          <p:spPr bwMode="gray">
            <a:xfrm>
              <a:off x="6243066" y="3402058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  <a:endParaRPr lang="en-ZA" sz="5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064FB81-4F6A-B036-C01A-A1B8C4AECE0F}"/>
              </a:ext>
            </a:extLst>
          </p:cNvPr>
          <p:cNvGrpSpPr/>
          <p:nvPr/>
        </p:nvGrpSpPr>
        <p:grpSpPr>
          <a:xfrm>
            <a:off x="-5285817" y="0"/>
            <a:ext cx="6854176" cy="6858000"/>
            <a:chOff x="0" y="0"/>
            <a:chExt cx="6854176" cy="6858000"/>
          </a:xfrm>
          <a:solidFill>
            <a:srgbClr val="500A28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351E109-7DEF-6C4A-8CC4-A1ADB1E3283B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449959E6-087D-6AA8-CF82-2AD8525DC69F}"/>
                </a:ext>
              </a:extLst>
            </p:cNvPr>
            <p:cNvSpPr/>
            <p:nvPr/>
          </p:nvSpPr>
          <p:spPr bwMode="gray">
            <a:xfrm>
              <a:off x="6232384" y="2598162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5</a:t>
              </a:r>
              <a:endParaRPr lang="en-ZA" sz="5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68BF5F6-7502-1F66-9BDB-FB18CCA54593}"/>
              </a:ext>
            </a:extLst>
          </p:cNvPr>
          <p:cNvGrpSpPr/>
          <p:nvPr/>
        </p:nvGrpSpPr>
        <p:grpSpPr>
          <a:xfrm>
            <a:off x="-5448898" y="0"/>
            <a:ext cx="6874993" cy="6858000"/>
            <a:chOff x="0" y="0"/>
            <a:chExt cx="6874993" cy="6858000"/>
          </a:xfrm>
          <a:solidFill>
            <a:schemeClr val="accent1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59F547F-0E1F-D6B0-017F-FB8B49B1B24C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460E68B1-FC7D-E0FE-B83B-DD8951E5162B}"/>
                </a:ext>
              </a:extLst>
            </p:cNvPr>
            <p:cNvSpPr/>
            <p:nvPr/>
          </p:nvSpPr>
          <p:spPr bwMode="gray">
            <a:xfrm>
              <a:off x="6253201" y="1749421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6</a:t>
              </a:r>
              <a:endParaRPr lang="en-ZA" sz="5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793D5D3-11C7-9E13-5336-5348F4D457D0}"/>
              </a:ext>
            </a:extLst>
          </p:cNvPr>
          <p:cNvGrpSpPr/>
          <p:nvPr/>
        </p:nvGrpSpPr>
        <p:grpSpPr>
          <a:xfrm>
            <a:off x="-5616786" y="0"/>
            <a:ext cx="6864858" cy="6858000"/>
            <a:chOff x="0" y="0"/>
            <a:chExt cx="6864858" cy="6858000"/>
          </a:xfrm>
          <a:solidFill>
            <a:schemeClr val="tx2">
              <a:lumMod val="40000"/>
              <a:lumOff val="6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FAB3D95-E878-BB77-DC5F-DC5D65090F2B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06794D84-7FD4-0CC0-2832-138FBEB946AB}"/>
                </a:ext>
              </a:extLst>
            </p:cNvPr>
            <p:cNvSpPr/>
            <p:nvPr/>
          </p:nvSpPr>
          <p:spPr bwMode="gray">
            <a:xfrm>
              <a:off x="6243066" y="819021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7</a:t>
              </a:r>
              <a:endParaRPr lang="en-ZA" sz="5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DEF3A15-4D81-31A7-2812-A9569EA5D045}"/>
              </a:ext>
            </a:extLst>
          </p:cNvPr>
          <p:cNvGrpSpPr/>
          <p:nvPr/>
        </p:nvGrpSpPr>
        <p:grpSpPr>
          <a:xfrm>
            <a:off x="-5849979" y="-29720"/>
            <a:ext cx="6824903" cy="6860778"/>
            <a:chOff x="0" y="-2778"/>
            <a:chExt cx="6824903" cy="6860778"/>
          </a:xfrm>
          <a:solidFill>
            <a:srgbClr val="DC0032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08CCB46-820D-D7A6-8121-0620A251EB3B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57F0E176-DD43-150A-B57C-2EE675896069}"/>
                </a:ext>
              </a:extLst>
            </p:cNvPr>
            <p:cNvSpPr/>
            <p:nvPr/>
          </p:nvSpPr>
          <p:spPr bwMode="gray">
            <a:xfrm>
              <a:off x="6203111" y="-2778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8</a:t>
              </a:r>
              <a:endParaRPr lang="en-ZA" sz="5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306BE7A-8678-4151-7B36-4469F603EE2D}"/>
              </a:ext>
            </a:extLst>
          </p:cNvPr>
          <p:cNvSpPr txBox="1"/>
          <p:nvPr/>
        </p:nvSpPr>
        <p:spPr bwMode="gray">
          <a:xfrm>
            <a:off x="3049044" y="1509919"/>
            <a:ext cx="3717574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25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EET THE TEAM</a:t>
            </a:r>
            <a:endParaRPr lang="en-ZA" sz="2500" b="1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Graphic 4" descr="Group of men with solid fill">
            <a:extLst>
              <a:ext uri="{FF2B5EF4-FFF2-40B4-BE49-F238E27FC236}">
                <a16:creationId xmlns:a16="http://schemas.microsoft.com/office/drawing/2014/main" id="{69BE72C6-B516-CD04-2D14-6B7EFAB4283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403604" y="137291"/>
            <a:ext cx="1345686" cy="1345686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C0F43823-E073-340F-A97F-6ED28558DAAC}"/>
              </a:ext>
            </a:extLst>
          </p:cNvPr>
          <p:cNvSpPr/>
          <p:nvPr/>
        </p:nvSpPr>
        <p:spPr bwMode="gray">
          <a:xfrm>
            <a:off x="2327884" y="2062106"/>
            <a:ext cx="1723177" cy="293001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ZA" sz="16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Picture 21" descr="A person wearing a blue shirt&#10;&#10;Description automatically generated">
            <a:extLst>
              <a:ext uri="{FF2B5EF4-FFF2-40B4-BE49-F238E27FC236}">
                <a16:creationId xmlns:a16="http://schemas.microsoft.com/office/drawing/2014/main" id="{C65AC148-278C-2D60-2F1A-7CF6AB7B6A9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6723" y="2200059"/>
            <a:ext cx="1163268" cy="1625884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A708A8EC-71AB-DF59-39CD-3B824B514182}"/>
              </a:ext>
            </a:extLst>
          </p:cNvPr>
          <p:cNvSpPr/>
          <p:nvPr/>
        </p:nvSpPr>
        <p:spPr bwMode="gray">
          <a:xfrm>
            <a:off x="4398296" y="2075245"/>
            <a:ext cx="1723177" cy="293001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ZA" sz="16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8" name="Picture 47" descr="A person taking a selfie&#10;&#10;Description automatically generated">
            <a:extLst>
              <a:ext uri="{FF2B5EF4-FFF2-40B4-BE49-F238E27FC236}">
                <a16:creationId xmlns:a16="http://schemas.microsoft.com/office/drawing/2014/main" id="{A6148383-BDCC-CCB0-EE6E-DA90B109352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2324" y="2200059"/>
            <a:ext cx="1261544" cy="1682059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1FC845B1-67CF-14CD-39FB-ACA9ADD387D4}"/>
              </a:ext>
            </a:extLst>
          </p:cNvPr>
          <p:cNvSpPr/>
          <p:nvPr/>
        </p:nvSpPr>
        <p:spPr bwMode="gray">
          <a:xfrm>
            <a:off x="6379788" y="2083228"/>
            <a:ext cx="1723177" cy="2930019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ZA" sz="16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E0DF86E-3E30-98F6-D9FA-22BF8F72663F}"/>
              </a:ext>
            </a:extLst>
          </p:cNvPr>
          <p:cNvSpPr txBox="1"/>
          <p:nvPr/>
        </p:nvSpPr>
        <p:spPr bwMode="gray">
          <a:xfrm>
            <a:off x="2428359" y="3795921"/>
            <a:ext cx="157160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4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arabetswe</a:t>
            </a:r>
            <a:r>
              <a:rPr 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simane</a:t>
            </a:r>
            <a:endParaRPr lang="en-ZA" sz="1400" b="1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5FD2CB9-B755-74F3-16DB-43ED710D19E7}"/>
              </a:ext>
            </a:extLst>
          </p:cNvPr>
          <p:cNvSpPr txBox="1"/>
          <p:nvPr/>
        </p:nvSpPr>
        <p:spPr bwMode="gray">
          <a:xfrm>
            <a:off x="2449924" y="4397999"/>
            <a:ext cx="1550044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odel Development Analyst – Stress Testing</a:t>
            </a:r>
            <a:endParaRPr lang="en-ZA" sz="11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5714A62-CA46-CB8B-104C-4C20080A442F}"/>
              </a:ext>
            </a:extLst>
          </p:cNvPr>
          <p:cNvSpPr txBox="1"/>
          <p:nvPr/>
        </p:nvSpPr>
        <p:spPr bwMode="gray">
          <a:xfrm>
            <a:off x="4499094" y="4250799"/>
            <a:ext cx="1583514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</a:rPr>
              <a:t>Senior Analyst - Climate Risk Analytics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</a:rPr>
              <a:t>Economic Capital &amp; Climate Risk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E607210-40DC-986F-9F14-F023BE94ACFB}"/>
              </a:ext>
            </a:extLst>
          </p:cNvPr>
          <p:cNvSpPr txBox="1"/>
          <p:nvPr/>
        </p:nvSpPr>
        <p:spPr bwMode="gray">
          <a:xfrm>
            <a:off x="4571232" y="3825943"/>
            <a:ext cx="126154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Zia </a:t>
            </a:r>
            <a:r>
              <a:rPr lang="en-US" sz="14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yaqat</a:t>
            </a:r>
            <a:r>
              <a:rPr 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Ali</a:t>
            </a:r>
            <a:endParaRPr lang="en-ZA" sz="1400" b="1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95A36C5-2695-DEC9-6BD1-13BC29C5548B}"/>
              </a:ext>
            </a:extLst>
          </p:cNvPr>
          <p:cNvSpPr txBox="1"/>
          <p:nvPr/>
        </p:nvSpPr>
        <p:spPr bwMode="gray">
          <a:xfrm>
            <a:off x="6253841" y="4399145"/>
            <a:ext cx="197507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2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VAF Credit Risk and Acquisitions Analyst</a:t>
            </a:r>
            <a:endParaRPr lang="en-ZA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8" name="Picture 57" descr="A person with her arms crossed&#10;&#10;Description automatically generated">
            <a:extLst>
              <a:ext uri="{FF2B5EF4-FFF2-40B4-BE49-F238E27FC236}">
                <a16:creationId xmlns:a16="http://schemas.microsoft.com/office/drawing/2014/main" id="{1BC830D7-3128-ED34-E6A0-88480D4EB15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87" t="2520" r="21764" b="38323"/>
          <a:stretch/>
        </p:blipFill>
        <p:spPr>
          <a:xfrm>
            <a:off x="6631306" y="2254708"/>
            <a:ext cx="1261545" cy="1627410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7219C243-7F9B-FB6D-0FED-86B35ECF18F2}"/>
              </a:ext>
            </a:extLst>
          </p:cNvPr>
          <p:cNvSpPr txBox="1"/>
          <p:nvPr/>
        </p:nvSpPr>
        <p:spPr bwMode="gray">
          <a:xfrm>
            <a:off x="6468708" y="3795921"/>
            <a:ext cx="157160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hioma Okechukwu</a:t>
            </a:r>
            <a:endParaRPr lang="en-ZA" sz="1400" b="1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239984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F6C749-04B7-2515-ECC7-BCFD2C78C5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A309EB7-A26A-1DCE-DA5B-0F5F869F1F67}"/>
              </a:ext>
            </a:extLst>
          </p:cNvPr>
          <p:cNvSpPr/>
          <p:nvPr/>
        </p:nvSpPr>
        <p:spPr bwMode="gray">
          <a:xfrm>
            <a:off x="0" y="0"/>
            <a:ext cx="12070080" cy="6858000"/>
          </a:xfrm>
          <a:prstGeom prst="rect">
            <a:avLst/>
          </a:prstGeom>
          <a:blipFill>
            <a:blip r:embed="rId3">
              <a:alphaModFix amt="35000"/>
            </a:blip>
            <a:stretch>
              <a:fillRect/>
            </a:stretch>
          </a:blip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ZA" sz="16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4299C2D-9EC1-5F40-F31B-7C2D67C4BEAC}"/>
              </a:ext>
            </a:extLst>
          </p:cNvPr>
          <p:cNvGrpSpPr/>
          <p:nvPr/>
        </p:nvGrpSpPr>
        <p:grpSpPr>
          <a:xfrm>
            <a:off x="1467739" y="0"/>
            <a:ext cx="7479154" cy="6858000"/>
            <a:chOff x="0" y="0"/>
            <a:chExt cx="6858000" cy="6858000"/>
          </a:xfrm>
          <a:solidFill>
            <a:schemeClr val="tx2">
              <a:lumMod val="5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EAA2F0D-71EE-3099-FE21-039FDD37A9D4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1BEEB80A-DB14-78E3-EB5B-7552A4568005}"/>
                </a:ext>
              </a:extLst>
            </p:cNvPr>
            <p:cNvSpPr/>
            <p:nvPr/>
          </p:nvSpPr>
          <p:spPr bwMode="gray">
            <a:xfrm>
              <a:off x="6236208" y="5897880"/>
              <a:ext cx="621792" cy="960120"/>
            </a:xfrm>
            <a:prstGeom prst="round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2D6F855-7F65-7AFC-5181-F2596525C322}"/>
              </a:ext>
            </a:extLst>
          </p:cNvPr>
          <p:cNvGrpSpPr/>
          <p:nvPr/>
        </p:nvGrpSpPr>
        <p:grpSpPr>
          <a:xfrm>
            <a:off x="1568359" y="0"/>
            <a:ext cx="7228254" cy="6858000"/>
            <a:chOff x="0" y="0"/>
            <a:chExt cx="6890004" cy="6858000"/>
          </a:xfrm>
          <a:blipFill dpi="0" rotWithShape="1">
            <a:blip r:embed="rId4">
              <a:alphaModFix amt="6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2AF297B-0FB0-E91A-5A35-6180811918E1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4CB30DF4-7AD4-F844-556C-7E8A7BB112A4}"/>
                </a:ext>
              </a:extLst>
            </p:cNvPr>
            <p:cNvSpPr/>
            <p:nvPr/>
          </p:nvSpPr>
          <p:spPr bwMode="gray">
            <a:xfrm>
              <a:off x="6268212" y="5096149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46E429E-E46A-D83A-2A5D-D9177399C182}"/>
              </a:ext>
            </a:extLst>
          </p:cNvPr>
          <p:cNvGrpSpPr/>
          <p:nvPr/>
        </p:nvGrpSpPr>
        <p:grpSpPr>
          <a:xfrm>
            <a:off x="-4754774" y="0"/>
            <a:ext cx="6894576" cy="6858000"/>
            <a:chOff x="0" y="0"/>
            <a:chExt cx="6894576" cy="6858000"/>
          </a:xfrm>
          <a:solidFill>
            <a:schemeClr val="accent1">
              <a:lumMod val="60000"/>
              <a:lumOff val="4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7C32E99-F7DC-855A-849B-36094F9BE918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14D1E18B-A4FB-D2B1-05FF-2E2656F2A7A7}"/>
                </a:ext>
              </a:extLst>
            </p:cNvPr>
            <p:cNvSpPr/>
            <p:nvPr/>
          </p:nvSpPr>
          <p:spPr bwMode="gray">
            <a:xfrm>
              <a:off x="6272784" y="4250799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114CD66-9E25-359E-2875-A2517F5B8FE7}"/>
              </a:ext>
            </a:extLst>
          </p:cNvPr>
          <p:cNvGrpSpPr/>
          <p:nvPr/>
        </p:nvGrpSpPr>
        <p:grpSpPr>
          <a:xfrm>
            <a:off x="-5008520" y="0"/>
            <a:ext cx="6864858" cy="6858000"/>
            <a:chOff x="0" y="0"/>
            <a:chExt cx="6864858" cy="6858000"/>
          </a:xfrm>
          <a:solidFill>
            <a:schemeClr val="bg2">
              <a:lumMod val="5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40B31B1-F2FD-55F4-2AE8-95DD7E19105F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FB0E9398-701C-1EE3-7013-9B4EA81752C9}"/>
                </a:ext>
              </a:extLst>
            </p:cNvPr>
            <p:cNvSpPr/>
            <p:nvPr/>
          </p:nvSpPr>
          <p:spPr bwMode="gray">
            <a:xfrm>
              <a:off x="6243066" y="3402058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0134965-E773-DDDC-0DF4-0A5C492ABF55}"/>
              </a:ext>
            </a:extLst>
          </p:cNvPr>
          <p:cNvGrpSpPr/>
          <p:nvPr/>
        </p:nvGrpSpPr>
        <p:grpSpPr>
          <a:xfrm>
            <a:off x="-5285817" y="0"/>
            <a:ext cx="6854176" cy="6858000"/>
            <a:chOff x="0" y="0"/>
            <a:chExt cx="6854176" cy="6858000"/>
          </a:xfrm>
          <a:solidFill>
            <a:srgbClr val="500A28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5054462-B96D-4F73-BB13-6AD55EB1EC32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3D772B46-0866-00FF-98F1-E7125E4CA1B8}"/>
                </a:ext>
              </a:extLst>
            </p:cNvPr>
            <p:cNvSpPr/>
            <p:nvPr/>
          </p:nvSpPr>
          <p:spPr bwMode="gray">
            <a:xfrm>
              <a:off x="6232384" y="2598162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5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363AA24-C845-8AC5-F7C8-68E1098571A8}"/>
              </a:ext>
            </a:extLst>
          </p:cNvPr>
          <p:cNvGrpSpPr/>
          <p:nvPr/>
        </p:nvGrpSpPr>
        <p:grpSpPr>
          <a:xfrm>
            <a:off x="-5448898" y="0"/>
            <a:ext cx="6874993" cy="6858000"/>
            <a:chOff x="0" y="0"/>
            <a:chExt cx="6874993" cy="6858000"/>
          </a:xfrm>
          <a:solidFill>
            <a:schemeClr val="accent1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0828DFC-1210-2B10-72EE-38813565FE2F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06F42B25-1E9F-E9B8-624C-4BD03B1E4D1F}"/>
                </a:ext>
              </a:extLst>
            </p:cNvPr>
            <p:cNvSpPr/>
            <p:nvPr/>
          </p:nvSpPr>
          <p:spPr bwMode="gray">
            <a:xfrm>
              <a:off x="6253201" y="1749421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6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3EDCFA6-1B12-6C2C-E539-431D67CC03DF}"/>
              </a:ext>
            </a:extLst>
          </p:cNvPr>
          <p:cNvGrpSpPr/>
          <p:nvPr/>
        </p:nvGrpSpPr>
        <p:grpSpPr>
          <a:xfrm>
            <a:off x="-5616786" y="0"/>
            <a:ext cx="6864858" cy="6858000"/>
            <a:chOff x="0" y="0"/>
            <a:chExt cx="6864858" cy="6858000"/>
          </a:xfrm>
          <a:solidFill>
            <a:schemeClr val="tx2">
              <a:lumMod val="40000"/>
              <a:lumOff val="6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C6C7D4F-340C-854C-5FAB-E65DE5022818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C1870838-12EF-AD07-14E0-819F756987B5}"/>
                </a:ext>
              </a:extLst>
            </p:cNvPr>
            <p:cNvSpPr/>
            <p:nvPr/>
          </p:nvSpPr>
          <p:spPr bwMode="gray">
            <a:xfrm>
              <a:off x="6243066" y="819021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7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AB386D7D-9C18-D379-AB77-6BBFC6DBA645}"/>
              </a:ext>
            </a:extLst>
          </p:cNvPr>
          <p:cNvGrpSpPr/>
          <p:nvPr/>
        </p:nvGrpSpPr>
        <p:grpSpPr>
          <a:xfrm>
            <a:off x="-5849979" y="-29720"/>
            <a:ext cx="6824903" cy="6860778"/>
            <a:chOff x="0" y="-2778"/>
            <a:chExt cx="6824903" cy="6860778"/>
          </a:xfrm>
          <a:solidFill>
            <a:srgbClr val="DC0032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A4FD05B-1D91-6028-58FC-18AB1D48FD18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0D601C8B-2DA9-182F-9D90-4BDD03CF3384}"/>
                </a:ext>
              </a:extLst>
            </p:cNvPr>
            <p:cNvSpPr/>
            <p:nvPr/>
          </p:nvSpPr>
          <p:spPr bwMode="gray">
            <a:xfrm>
              <a:off x="6203111" y="-2778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8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5CBEF54-3C06-B3D5-B96D-F2B735BA12F0}"/>
              </a:ext>
            </a:extLst>
          </p:cNvPr>
          <p:cNvSpPr txBox="1"/>
          <p:nvPr/>
        </p:nvSpPr>
        <p:spPr bwMode="gray">
          <a:xfrm>
            <a:off x="3152951" y="1104906"/>
            <a:ext cx="3717574" cy="38472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50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2500" b="1" dirty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BACKGROUND</a:t>
            </a:r>
            <a:endParaRPr lang="en-ZA" sz="2500" b="1" dirty="0">
              <a:solidFill>
                <a:schemeClr val="tx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Graphic 4" descr="Water with solid fill">
            <a:extLst>
              <a:ext uri="{FF2B5EF4-FFF2-40B4-BE49-F238E27FC236}">
                <a16:creationId xmlns:a16="http://schemas.microsoft.com/office/drawing/2014/main" id="{CFDFC9B7-4B0B-98E3-6395-39D5B7EE42A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545757" y="-22211"/>
            <a:ext cx="1127117" cy="112711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EF53C38-2C57-4742-CF1C-4F48EC947684}"/>
              </a:ext>
            </a:extLst>
          </p:cNvPr>
          <p:cNvSpPr txBox="1"/>
          <p:nvPr/>
        </p:nvSpPr>
        <p:spPr bwMode="gray">
          <a:xfrm>
            <a:off x="2450698" y="1705672"/>
            <a:ext cx="5317236" cy="3877985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</a:schemeClr>
            </a:solidFill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buNone/>
            </a:pPr>
            <a:r>
              <a:rPr lang="en-US" sz="1400" dirty="0"/>
              <a:t>CZR Insurance Group is a South African insurer offering a range of insurance products. Founded after one of Southern Africa’s most devastating floods, the company was created to protect communities from flood-related financial loss. The name CZR stands for </a:t>
            </a:r>
            <a:r>
              <a:rPr lang="en-US" sz="1400" b="1" dirty="0"/>
              <a:t>“Coverage for Zero Regret,”</a:t>
            </a:r>
            <a:r>
              <a:rPr lang="en-US" sz="1400" dirty="0"/>
              <a:t> reflecting its commitment to resilience against natural disasters.</a:t>
            </a:r>
          </a:p>
          <a:p>
            <a:pPr algn="ctr">
              <a:buNone/>
            </a:pPr>
            <a:endParaRPr lang="en-US" sz="1400" dirty="0"/>
          </a:p>
          <a:p>
            <a:pPr algn="ctr">
              <a:buNone/>
            </a:pPr>
            <a:r>
              <a:rPr lang="en-US" sz="1400" dirty="0"/>
              <a:t>The company was formed by risk analysts who observed that traditional insurance models struggled to account for increasingly frequent and severe floods driven by climate change.</a:t>
            </a:r>
          </a:p>
          <a:p>
            <a:pPr algn="ctr">
              <a:buNone/>
            </a:pPr>
            <a:endParaRPr lang="en-US" sz="1400" dirty="0"/>
          </a:p>
          <a:p>
            <a:pPr algn="ctr">
              <a:buNone/>
            </a:pPr>
            <a:r>
              <a:rPr lang="en-US" sz="1400" dirty="0"/>
              <a:t>This case study aims to develop models that predict the monthly frequency and severity of flood events. By identifying trends that precede floods, CZR can better manage financial risk.</a:t>
            </a:r>
          </a:p>
          <a:p>
            <a:pPr algn="ctr">
              <a:buNone/>
            </a:pPr>
            <a:endParaRPr lang="en-US" sz="1400" dirty="0"/>
          </a:p>
          <a:p>
            <a:pPr algn="ctr">
              <a:buNone/>
            </a:pPr>
            <a:r>
              <a:rPr lang="en-US" sz="1400" dirty="0"/>
              <a:t>Management has tasked an intern with analyzing provided data, applying visualization techniques to uncover patterns, and building predictive models for flood events in the Western Cape.</a:t>
            </a:r>
          </a:p>
        </p:txBody>
      </p:sp>
    </p:spTree>
    <p:extLst>
      <p:ext uri="{BB962C8B-B14F-4D97-AF65-F5344CB8AC3E}">
        <p14:creationId xmlns:p14="http://schemas.microsoft.com/office/powerpoint/2010/main" val="28495778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4000">
        <p159:morph option="byObject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35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34BE4C4-DFF6-4BB2-550C-DFDB93CA0F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1194F72-B38F-4474-087F-B7549523D003}"/>
              </a:ext>
            </a:extLst>
          </p:cNvPr>
          <p:cNvSpPr/>
          <p:nvPr/>
        </p:nvSpPr>
        <p:spPr bwMode="gray">
          <a:xfrm>
            <a:off x="0" y="0"/>
            <a:ext cx="12070080" cy="6858000"/>
          </a:xfrm>
          <a:prstGeom prst="rect">
            <a:avLst/>
          </a:prstGeom>
          <a:blipFill>
            <a:blip r:embed="rId3">
              <a:alphaModFix amt="35000"/>
            </a:blip>
            <a:stretch>
              <a:fillRect/>
            </a:stretch>
          </a:blip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ZA" sz="16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1207798-B983-6F45-0FD2-C71731963A95}"/>
              </a:ext>
            </a:extLst>
          </p:cNvPr>
          <p:cNvGrpSpPr/>
          <p:nvPr/>
        </p:nvGrpSpPr>
        <p:grpSpPr>
          <a:xfrm>
            <a:off x="1467739" y="0"/>
            <a:ext cx="7479154" cy="6858000"/>
            <a:chOff x="0" y="0"/>
            <a:chExt cx="6858000" cy="6858000"/>
          </a:xfrm>
          <a:solidFill>
            <a:schemeClr val="tx2">
              <a:lumMod val="5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4793D83-43BF-A290-39B3-7766BCDE843A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166E50A-50B8-99B7-0538-DF8826915681}"/>
                </a:ext>
              </a:extLst>
            </p:cNvPr>
            <p:cNvSpPr/>
            <p:nvPr/>
          </p:nvSpPr>
          <p:spPr bwMode="gray">
            <a:xfrm>
              <a:off x="6236208" y="5897880"/>
              <a:ext cx="621792" cy="960120"/>
            </a:xfrm>
            <a:prstGeom prst="round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88FFBE66-3AB6-85FA-6564-C75891DFFED7}"/>
              </a:ext>
            </a:extLst>
          </p:cNvPr>
          <p:cNvGrpSpPr/>
          <p:nvPr/>
        </p:nvGrpSpPr>
        <p:grpSpPr>
          <a:xfrm>
            <a:off x="1568359" y="0"/>
            <a:ext cx="7228254" cy="6858000"/>
            <a:chOff x="0" y="0"/>
            <a:chExt cx="6890004" cy="6858000"/>
          </a:xfrm>
          <a:solidFill>
            <a:srgbClr val="F4772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11E959E-DB6A-18F6-6976-A290A27324FA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B6DD770F-A757-6A49-6728-4624BCCBF948}"/>
                </a:ext>
              </a:extLst>
            </p:cNvPr>
            <p:cNvSpPr/>
            <p:nvPr/>
          </p:nvSpPr>
          <p:spPr bwMode="gray">
            <a:xfrm>
              <a:off x="6268212" y="5096149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4CD6089-C910-0543-DE66-AFD32200E588}"/>
              </a:ext>
            </a:extLst>
          </p:cNvPr>
          <p:cNvGrpSpPr/>
          <p:nvPr/>
        </p:nvGrpSpPr>
        <p:grpSpPr>
          <a:xfrm>
            <a:off x="1291696" y="0"/>
            <a:ext cx="7262151" cy="6858000"/>
            <a:chOff x="0" y="0"/>
            <a:chExt cx="6894576" cy="6858000"/>
          </a:xfrm>
          <a:blipFill dpi="0" rotWithShape="1">
            <a:blip r:embed="rId4">
              <a:alphaModFix amt="6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F12101A-21E7-B997-5184-9576C28E40B1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79898C0C-7E76-6D9B-94DC-532DBA041DB8}"/>
                </a:ext>
              </a:extLst>
            </p:cNvPr>
            <p:cNvSpPr/>
            <p:nvPr/>
          </p:nvSpPr>
          <p:spPr bwMode="gray">
            <a:xfrm>
              <a:off x="6272784" y="4250799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AEFB4A1-9504-F3FE-BF98-1B98B104F57C}"/>
              </a:ext>
            </a:extLst>
          </p:cNvPr>
          <p:cNvGrpSpPr/>
          <p:nvPr/>
        </p:nvGrpSpPr>
        <p:grpSpPr>
          <a:xfrm>
            <a:off x="-5008520" y="0"/>
            <a:ext cx="6864858" cy="6858000"/>
            <a:chOff x="0" y="0"/>
            <a:chExt cx="6864858" cy="6858000"/>
          </a:xfrm>
          <a:solidFill>
            <a:schemeClr val="bg2">
              <a:lumMod val="5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CADAB78-9CD6-8ED3-4A0E-6DE514254048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ED0FE08C-27BC-BABC-6721-4ECD7A82D964}"/>
                </a:ext>
              </a:extLst>
            </p:cNvPr>
            <p:cNvSpPr/>
            <p:nvPr/>
          </p:nvSpPr>
          <p:spPr bwMode="gray">
            <a:xfrm>
              <a:off x="6243066" y="3402058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5B3A92B-1E52-F2BC-DF45-7D000F57D804}"/>
              </a:ext>
            </a:extLst>
          </p:cNvPr>
          <p:cNvGrpSpPr/>
          <p:nvPr/>
        </p:nvGrpSpPr>
        <p:grpSpPr>
          <a:xfrm>
            <a:off x="-5285817" y="0"/>
            <a:ext cx="6854176" cy="6858000"/>
            <a:chOff x="0" y="0"/>
            <a:chExt cx="6854176" cy="6858000"/>
          </a:xfrm>
          <a:solidFill>
            <a:srgbClr val="500A28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F9D1EDE-59D4-EE7D-7040-8D564E136E0B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3376FCCE-23DB-8335-1924-DE4C54DCF927}"/>
                </a:ext>
              </a:extLst>
            </p:cNvPr>
            <p:cNvSpPr/>
            <p:nvPr/>
          </p:nvSpPr>
          <p:spPr bwMode="gray">
            <a:xfrm>
              <a:off x="6232384" y="2598162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5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C7D560D-B9AB-5CC7-2E33-5586BB53B8DC}"/>
              </a:ext>
            </a:extLst>
          </p:cNvPr>
          <p:cNvGrpSpPr/>
          <p:nvPr/>
        </p:nvGrpSpPr>
        <p:grpSpPr>
          <a:xfrm>
            <a:off x="-5448898" y="0"/>
            <a:ext cx="6874993" cy="6858000"/>
            <a:chOff x="0" y="0"/>
            <a:chExt cx="6874993" cy="6858000"/>
          </a:xfrm>
          <a:solidFill>
            <a:schemeClr val="accent1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90874E9-309B-982A-32E2-E411D65D46B7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6F8A4FF0-F9FF-A5D9-0C10-469AF0458F76}"/>
                </a:ext>
              </a:extLst>
            </p:cNvPr>
            <p:cNvSpPr/>
            <p:nvPr/>
          </p:nvSpPr>
          <p:spPr bwMode="gray">
            <a:xfrm>
              <a:off x="6253201" y="1749421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6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120F88C-FA98-9FF9-66E8-7B0C8BCB3635}"/>
              </a:ext>
            </a:extLst>
          </p:cNvPr>
          <p:cNvGrpSpPr/>
          <p:nvPr/>
        </p:nvGrpSpPr>
        <p:grpSpPr>
          <a:xfrm>
            <a:off x="-5616786" y="0"/>
            <a:ext cx="6864858" cy="6858000"/>
            <a:chOff x="0" y="0"/>
            <a:chExt cx="6864858" cy="6858000"/>
          </a:xfrm>
          <a:solidFill>
            <a:schemeClr val="tx2">
              <a:lumMod val="40000"/>
              <a:lumOff val="6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B5D34F8-D6D6-9FBB-5A3C-1933E8F4563E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01621E3E-0DC9-3758-9388-07ED960F728B}"/>
                </a:ext>
              </a:extLst>
            </p:cNvPr>
            <p:cNvSpPr/>
            <p:nvPr/>
          </p:nvSpPr>
          <p:spPr bwMode="gray">
            <a:xfrm>
              <a:off x="6243066" y="819021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7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1D024586-6388-C70C-C0B0-2D002DBB006E}"/>
              </a:ext>
            </a:extLst>
          </p:cNvPr>
          <p:cNvGrpSpPr/>
          <p:nvPr/>
        </p:nvGrpSpPr>
        <p:grpSpPr>
          <a:xfrm>
            <a:off x="-5849979" y="-29720"/>
            <a:ext cx="6824903" cy="6860778"/>
            <a:chOff x="0" y="-2778"/>
            <a:chExt cx="6824903" cy="6860778"/>
          </a:xfrm>
          <a:solidFill>
            <a:srgbClr val="DC0032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5CA142A-FD3A-76E5-49DD-8508DDA44B7F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6843D7EE-B61A-1678-154C-8E073EFF576B}"/>
                </a:ext>
              </a:extLst>
            </p:cNvPr>
            <p:cNvSpPr/>
            <p:nvPr/>
          </p:nvSpPr>
          <p:spPr bwMode="gray">
            <a:xfrm>
              <a:off x="6203111" y="-2778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8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D9975E41-49B8-D1D2-3342-E94FC458D4F7}"/>
              </a:ext>
            </a:extLst>
          </p:cNvPr>
          <p:cNvSpPr txBox="1"/>
          <p:nvPr/>
        </p:nvSpPr>
        <p:spPr bwMode="gray">
          <a:xfrm>
            <a:off x="2072832" y="2098818"/>
            <a:ext cx="5538093" cy="384721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2500" b="1" dirty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QUESTIONS TO BE ADDRESSED</a:t>
            </a:r>
            <a:endParaRPr lang="en-ZA" sz="2500" b="1" dirty="0">
              <a:solidFill>
                <a:schemeClr val="tx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ECA4C12-D6B8-6928-F254-877237F98E9B}"/>
              </a:ext>
            </a:extLst>
          </p:cNvPr>
          <p:cNvSpPr txBox="1"/>
          <p:nvPr/>
        </p:nvSpPr>
        <p:spPr bwMode="gray">
          <a:xfrm>
            <a:off x="2072833" y="2784743"/>
            <a:ext cx="5538093" cy="1937325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</a:schemeClr>
            </a:solidFill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ts val="300"/>
              </a:spcBef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When can the next flood be expected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ZA" sz="1400" dirty="0">
              <a:latin typeface="+mj-lt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How should multicollinearity and outliers in the data be handled, if encountered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ZA" sz="1400" dirty="0">
              <a:latin typeface="+mj-lt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What steps can CZR Insurance Group take to mitigate the financial risks associated with flood events?</a:t>
            </a:r>
            <a:endParaRPr lang="en-ZA" sz="1400" dirty="0">
              <a:latin typeface="+mj-lt"/>
            </a:endParaRPr>
          </a:p>
          <a:p>
            <a:pPr lvl="0">
              <a:lnSpc>
                <a:spcPct val="107000"/>
              </a:lnSpc>
            </a:pPr>
            <a:endParaRPr lang="en-ZA" sz="1400" dirty="0">
              <a:solidFill>
                <a:schemeClr val="tx1">
                  <a:lumMod val="50000"/>
                </a:schemeClr>
              </a:solidFill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Graphic 22" descr="Question Mark with solid fill">
            <a:extLst>
              <a:ext uri="{FF2B5EF4-FFF2-40B4-BE49-F238E27FC236}">
                <a16:creationId xmlns:a16="http://schemas.microsoft.com/office/drawing/2014/main" id="{57843111-38CE-03E8-CB68-48A22A35F44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09090" y="800087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73473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4000">
        <p159:morph option="byObject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909BF7-1BD1-143B-8633-22B9751A7C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1A6EDD6-33C6-4FC7-7D8B-479839334466}"/>
              </a:ext>
            </a:extLst>
          </p:cNvPr>
          <p:cNvSpPr/>
          <p:nvPr/>
        </p:nvSpPr>
        <p:spPr bwMode="gray">
          <a:xfrm>
            <a:off x="0" y="0"/>
            <a:ext cx="12070080" cy="6858000"/>
          </a:xfrm>
          <a:prstGeom prst="rect">
            <a:avLst/>
          </a:prstGeom>
          <a:blipFill>
            <a:blip r:embed="rId3">
              <a:alphaModFix amt="35000"/>
            </a:blip>
            <a:stretch>
              <a:fillRect/>
            </a:stretch>
          </a:blip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ZA" sz="16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80639B1-39D2-B744-E880-4BFF79A67416}"/>
              </a:ext>
            </a:extLst>
          </p:cNvPr>
          <p:cNvGrpSpPr/>
          <p:nvPr/>
        </p:nvGrpSpPr>
        <p:grpSpPr>
          <a:xfrm>
            <a:off x="1467739" y="0"/>
            <a:ext cx="7479154" cy="6858000"/>
            <a:chOff x="0" y="0"/>
            <a:chExt cx="6858000" cy="6858000"/>
          </a:xfrm>
          <a:solidFill>
            <a:schemeClr val="tx2">
              <a:lumMod val="5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7A4401F-7E61-5837-A930-257894586AB9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370834A8-2196-EA60-10FF-BABEB4D3BC64}"/>
                </a:ext>
              </a:extLst>
            </p:cNvPr>
            <p:cNvSpPr/>
            <p:nvPr/>
          </p:nvSpPr>
          <p:spPr bwMode="gray">
            <a:xfrm>
              <a:off x="6236208" y="5897880"/>
              <a:ext cx="621792" cy="960120"/>
            </a:xfrm>
            <a:prstGeom prst="round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029D938-605F-FBE1-96C8-61B276AA6B10}"/>
              </a:ext>
            </a:extLst>
          </p:cNvPr>
          <p:cNvGrpSpPr/>
          <p:nvPr/>
        </p:nvGrpSpPr>
        <p:grpSpPr>
          <a:xfrm>
            <a:off x="1568359" y="0"/>
            <a:ext cx="7228254" cy="6858000"/>
            <a:chOff x="0" y="0"/>
            <a:chExt cx="6890004" cy="6858000"/>
          </a:xfrm>
          <a:solidFill>
            <a:srgbClr val="F4772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AAB24A1-ABA0-C617-219F-A2B77127A99A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5E2A9E9B-FBC1-987A-2F52-2FDCF2EBF7E7}"/>
                </a:ext>
              </a:extLst>
            </p:cNvPr>
            <p:cNvSpPr/>
            <p:nvPr/>
          </p:nvSpPr>
          <p:spPr bwMode="gray">
            <a:xfrm>
              <a:off x="6268212" y="5096149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918543A-9C5C-F4AC-2631-360E180B5E12}"/>
              </a:ext>
            </a:extLst>
          </p:cNvPr>
          <p:cNvGrpSpPr/>
          <p:nvPr/>
        </p:nvGrpSpPr>
        <p:grpSpPr>
          <a:xfrm>
            <a:off x="1467739" y="0"/>
            <a:ext cx="7086108" cy="6858000"/>
            <a:chOff x="0" y="0"/>
            <a:chExt cx="6894576" cy="6858000"/>
          </a:xfrm>
          <a:solidFill>
            <a:schemeClr val="accent1">
              <a:lumMod val="60000"/>
              <a:lumOff val="4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83D76D8-D0D9-9D5E-A13E-1ADFA0C82046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6872FA02-E360-3FE4-F2EC-D8BA95E49762}"/>
                </a:ext>
              </a:extLst>
            </p:cNvPr>
            <p:cNvSpPr/>
            <p:nvPr/>
          </p:nvSpPr>
          <p:spPr bwMode="gray">
            <a:xfrm>
              <a:off x="6272784" y="4250799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C4C395F-2713-92AA-9173-7546D3B9E89D}"/>
              </a:ext>
            </a:extLst>
          </p:cNvPr>
          <p:cNvGrpSpPr/>
          <p:nvPr/>
        </p:nvGrpSpPr>
        <p:grpSpPr>
          <a:xfrm>
            <a:off x="972191" y="0"/>
            <a:ext cx="7316782" cy="6858000"/>
            <a:chOff x="0" y="0"/>
            <a:chExt cx="6864858" cy="6858000"/>
          </a:xfrm>
          <a:blipFill dpi="0" rotWithShape="1">
            <a:blip r:embed="rId4">
              <a:alphaModFix amt="6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2FE59F0-AFED-B529-759B-C26F518C1D19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AE7736D1-C29A-501B-2E57-A9A62768C5B6}"/>
                </a:ext>
              </a:extLst>
            </p:cNvPr>
            <p:cNvSpPr/>
            <p:nvPr/>
          </p:nvSpPr>
          <p:spPr bwMode="gray">
            <a:xfrm>
              <a:off x="6243066" y="3402058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A197772-5AED-D033-5179-AA1A43DFDD3D}"/>
              </a:ext>
            </a:extLst>
          </p:cNvPr>
          <p:cNvGrpSpPr/>
          <p:nvPr/>
        </p:nvGrpSpPr>
        <p:grpSpPr>
          <a:xfrm>
            <a:off x="-5285817" y="0"/>
            <a:ext cx="6854176" cy="6858000"/>
            <a:chOff x="0" y="0"/>
            <a:chExt cx="6854176" cy="6858000"/>
          </a:xfrm>
          <a:solidFill>
            <a:srgbClr val="500A28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404B66E-7815-D5DA-61A0-445CD7C500AB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AE6E5889-BA45-A3EF-55D0-84F53B381294}"/>
                </a:ext>
              </a:extLst>
            </p:cNvPr>
            <p:cNvSpPr/>
            <p:nvPr/>
          </p:nvSpPr>
          <p:spPr bwMode="gray">
            <a:xfrm>
              <a:off x="6232384" y="2598162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5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00B5D52-70AF-0280-2F7D-8CEF944DDE16}"/>
              </a:ext>
            </a:extLst>
          </p:cNvPr>
          <p:cNvGrpSpPr/>
          <p:nvPr/>
        </p:nvGrpSpPr>
        <p:grpSpPr>
          <a:xfrm>
            <a:off x="-5448898" y="0"/>
            <a:ext cx="6874993" cy="6858000"/>
            <a:chOff x="0" y="0"/>
            <a:chExt cx="6874993" cy="6858000"/>
          </a:xfrm>
          <a:solidFill>
            <a:schemeClr val="accent1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7E21A28-C72A-8CA6-227D-C04762980D4E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6039B4CC-8DDD-89D6-9487-E1E71B80136F}"/>
                </a:ext>
              </a:extLst>
            </p:cNvPr>
            <p:cNvSpPr/>
            <p:nvPr/>
          </p:nvSpPr>
          <p:spPr bwMode="gray">
            <a:xfrm>
              <a:off x="6253201" y="1749421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6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45108C5-8E1C-5DA2-C135-7F9BAD688782}"/>
              </a:ext>
            </a:extLst>
          </p:cNvPr>
          <p:cNvGrpSpPr/>
          <p:nvPr/>
        </p:nvGrpSpPr>
        <p:grpSpPr>
          <a:xfrm>
            <a:off x="-5616786" y="0"/>
            <a:ext cx="6864858" cy="6858000"/>
            <a:chOff x="0" y="0"/>
            <a:chExt cx="6864858" cy="6858000"/>
          </a:xfrm>
          <a:solidFill>
            <a:schemeClr val="tx2">
              <a:lumMod val="40000"/>
              <a:lumOff val="6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AD54AC6F-DA13-EE1B-AEBA-85F51B7D77CC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D1BB8B73-B7D8-5C1F-DF3B-CC0BE21FFFDB}"/>
                </a:ext>
              </a:extLst>
            </p:cNvPr>
            <p:cNvSpPr/>
            <p:nvPr/>
          </p:nvSpPr>
          <p:spPr bwMode="gray">
            <a:xfrm>
              <a:off x="6243066" y="819021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7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4B96F504-81F8-B7B9-23F3-22A1BCD6EC1C}"/>
              </a:ext>
            </a:extLst>
          </p:cNvPr>
          <p:cNvGrpSpPr/>
          <p:nvPr/>
        </p:nvGrpSpPr>
        <p:grpSpPr>
          <a:xfrm>
            <a:off x="-5849979" y="-29720"/>
            <a:ext cx="6824903" cy="6860778"/>
            <a:chOff x="0" y="-2778"/>
            <a:chExt cx="6824903" cy="6860778"/>
          </a:xfrm>
          <a:solidFill>
            <a:srgbClr val="DC0032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CDC46C2-0936-2CAA-A64E-CBB6FBA7BDC4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8B1DDF31-EC74-B0BA-DD46-27549B8BEC56}"/>
                </a:ext>
              </a:extLst>
            </p:cNvPr>
            <p:cNvSpPr/>
            <p:nvPr/>
          </p:nvSpPr>
          <p:spPr bwMode="gray">
            <a:xfrm>
              <a:off x="6203111" y="-2778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8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FFCC90FD-68E3-CDA5-1622-9CF15EA6ABC9}"/>
              </a:ext>
            </a:extLst>
          </p:cNvPr>
          <p:cNvSpPr txBox="1"/>
          <p:nvPr/>
        </p:nvSpPr>
        <p:spPr bwMode="gray">
          <a:xfrm>
            <a:off x="2755291" y="1045821"/>
            <a:ext cx="3717574" cy="384721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2500" b="1" dirty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DELIVERABLES</a:t>
            </a:r>
            <a:endParaRPr lang="en-ZA" sz="2500" b="1" dirty="0">
              <a:solidFill>
                <a:schemeClr val="tx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3796E1B-A7ED-AE47-809D-360E086D795E}"/>
              </a:ext>
            </a:extLst>
          </p:cNvPr>
          <p:cNvSpPr txBox="1"/>
          <p:nvPr/>
        </p:nvSpPr>
        <p:spPr bwMode="gray">
          <a:xfrm>
            <a:off x="1645762" y="1963099"/>
            <a:ext cx="5876036" cy="383803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</a:schemeClr>
            </a:solidFill>
          </a:ln>
        </p:spPr>
        <p:txBody>
          <a:bodyPr wrap="square" lIns="0" tIns="0" rIns="0" bIns="0" rtlCol="0" anchor="t">
            <a:spAutoFit/>
          </a:bodyPr>
          <a:lstStyle/>
          <a:p>
            <a:pPr lvl="1">
              <a:lnSpc>
                <a:spcPct val="150000"/>
              </a:lnSpc>
            </a:pPr>
            <a:r>
              <a:rPr lang="en-US" sz="1400" b="1" u="sng" dirty="0"/>
              <a:t>Expected Outcomes</a:t>
            </a:r>
            <a:endParaRPr lang="en-US" sz="1400" u="sng" dirty="0"/>
          </a:p>
          <a:p>
            <a:pPr lvl="1">
              <a:lnSpc>
                <a:spcPct val="150000"/>
              </a:lnSpc>
            </a:pPr>
            <a:r>
              <a:rPr lang="en-US" sz="1400" b="1" dirty="0"/>
              <a:t>EDA:</a:t>
            </a:r>
            <a:r>
              <a:rPr lang="en-US" sz="1400" dirty="0"/>
              <a:t> uncover patterns and relationships</a:t>
            </a:r>
          </a:p>
          <a:p>
            <a:pPr lvl="1">
              <a:lnSpc>
                <a:spcPct val="150000"/>
              </a:lnSpc>
            </a:pPr>
            <a:r>
              <a:rPr lang="en-US" sz="1400" b="1" dirty="0"/>
              <a:t>Predictive Model:</a:t>
            </a:r>
            <a:r>
              <a:rPr lang="en-US" sz="1400" dirty="0"/>
              <a:t> forecast monthly flood frequency and severity</a:t>
            </a:r>
          </a:p>
          <a:p>
            <a:pPr lvl="1">
              <a:lnSpc>
                <a:spcPct val="150000"/>
              </a:lnSpc>
            </a:pPr>
            <a:r>
              <a:rPr lang="en-US" sz="1400" b="1" dirty="0"/>
              <a:t>Key Insights:</a:t>
            </a:r>
            <a:r>
              <a:rPr lang="en-US" sz="1400" dirty="0"/>
              <a:t> identify variables linked to floods</a:t>
            </a:r>
          </a:p>
          <a:p>
            <a:pPr lvl="1">
              <a:lnSpc>
                <a:spcPct val="150000"/>
              </a:lnSpc>
            </a:pPr>
            <a:r>
              <a:rPr lang="en-US" sz="1400" b="1" dirty="0"/>
              <a:t>Recommendations:</a:t>
            </a:r>
            <a:r>
              <a:rPr lang="en-US" sz="1400" dirty="0"/>
              <a:t> actions to reduce flood-related financial risk</a:t>
            </a:r>
          </a:p>
          <a:p>
            <a:pPr>
              <a:lnSpc>
                <a:spcPct val="150000"/>
              </a:lnSpc>
            </a:pPr>
            <a:endParaRPr lang="en-US" sz="1400" dirty="0"/>
          </a:p>
          <a:p>
            <a:pPr lvl="1">
              <a:lnSpc>
                <a:spcPct val="150000"/>
              </a:lnSpc>
            </a:pPr>
            <a:r>
              <a:rPr lang="en-US" sz="1400" b="1" u="sng" dirty="0"/>
              <a:t>Expected Deliverables</a:t>
            </a:r>
            <a:endParaRPr lang="en-US" sz="1400" u="sng" dirty="0"/>
          </a:p>
          <a:p>
            <a:pPr lvl="1">
              <a:lnSpc>
                <a:spcPct val="150000"/>
              </a:lnSpc>
            </a:pPr>
            <a:r>
              <a:rPr lang="en-US" sz="1400" b="1" dirty="0"/>
              <a:t>Scripts:</a:t>
            </a:r>
            <a:r>
              <a:rPr lang="en-US" sz="1400" dirty="0"/>
              <a:t> EDA and modeling (Excel, SAS, R, or Python)</a:t>
            </a:r>
          </a:p>
          <a:p>
            <a:pPr lvl="1">
              <a:lnSpc>
                <a:spcPct val="150000"/>
              </a:lnSpc>
            </a:pPr>
            <a:r>
              <a:rPr lang="en-US" sz="1400" b="1" dirty="0"/>
              <a:t>Presentation:</a:t>
            </a:r>
            <a:r>
              <a:rPr lang="en-US" sz="1400" dirty="0"/>
              <a:t> ≤10-slide PowerPoint with results and recommendations (voice-over optional)</a:t>
            </a:r>
          </a:p>
          <a:p>
            <a:pPr lvl="1">
              <a:lnSpc>
                <a:spcPct val="150000"/>
              </a:lnSpc>
            </a:pPr>
            <a:r>
              <a:rPr lang="en-US" sz="1400" b="1" dirty="0"/>
              <a:t>Report:</a:t>
            </a:r>
            <a:r>
              <a:rPr lang="en-US" sz="1400" dirty="0"/>
              <a:t> detailed documentation of findings</a:t>
            </a:r>
          </a:p>
          <a:p>
            <a:pPr lvl="1">
              <a:lnSpc>
                <a:spcPct val="150000"/>
              </a:lnSpc>
            </a:pPr>
            <a:r>
              <a:rPr lang="en-US" sz="1400" b="1" dirty="0"/>
              <a:t>Data Sources:</a:t>
            </a:r>
            <a:r>
              <a:rPr lang="en-US" sz="1400" dirty="0"/>
              <a:t> references to any open-source data used</a:t>
            </a:r>
          </a:p>
        </p:txBody>
      </p:sp>
      <p:pic>
        <p:nvPicPr>
          <p:cNvPr id="22" name="Graphic 21" descr="Checklist with solid fill">
            <a:extLst>
              <a:ext uri="{FF2B5EF4-FFF2-40B4-BE49-F238E27FC236}">
                <a16:creationId xmlns:a16="http://schemas.microsoft.com/office/drawing/2014/main" id="{D110E2D9-5CD1-6857-3131-3E8BE4C14D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156878" y="45547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09596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4000">
        <p159:morph option="byObject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11576F-6C54-AF9D-40F0-BEC5712A62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C289E8-E3EC-DBC1-F132-3AEE16F87F02}"/>
              </a:ext>
            </a:extLst>
          </p:cNvPr>
          <p:cNvSpPr/>
          <p:nvPr/>
        </p:nvSpPr>
        <p:spPr bwMode="gray">
          <a:xfrm>
            <a:off x="0" y="0"/>
            <a:ext cx="12070080" cy="6858000"/>
          </a:xfrm>
          <a:prstGeom prst="rect">
            <a:avLst/>
          </a:prstGeom>
          <a:blipFill>
            <a:blip r:embed="rId3">
              <a:alphaModFix amt="35000"/>
            </a:blip>
            <a:stretch>
              <a:fillRect/>
            </a:stretch>
          </a:blip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ZA" sz="16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A5CCA66-23DC-0A87-3852-1BF411B2BE3F}"/>
              </a:ext>
            </a:extLst>
          </p:cNvPr>
          <p:cNvGrpSpPr/>
          <p:nvPr/>
        </p:nvGrpSpPr>
        <p:grpSpPr>
          <a:xfrm>
            <a:off x="1467739" y="0"/>
            <a:ext cx="7479154" cy="6858000"/>
            <a:chOff x="0" y="0"/>
            <a:chExt cx="6858000" cy="6858000"/>
          </a:xfrm>
          <a:solidFill>
            <a:schemeClr val="tx2">
              <a:lumMod val="5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4925354-35CA-4FA5-6838-C1D0715F3093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DEDA75F7-FCA7-7A09-07AE-81C2DEC9288B}"/>
                </a:ext>
              </a:extLst>
            </p:cNvPr>
            <p:cNvSpPr/>
            <p:nvPr/>
          </p:nvSpPr>
          <p:spPr bwMode="gray">
            <a:xfrm>
              <a:off x="6236208" y="5897880"/>
              <a:ext cx="621792" cy="960120"/>
            </a:xfrm>
            <a:prstGeom prst="round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0BA2662-2C8E-7B9F-F2E2-D73EC714B188}"/>
              </a:ext>
            </a:extLst>
          </p:cNvPr>
          <p:cNvGrpSpPr/>
          <p:nvPr/>
        </p:nvGrpSpPr>
        <p:grpSpPr>
          <a:xfrm>
            <a:off x="1568359" y="0"/>
            <a:ext cx="7228254" cy="6858000"/>
            <a:chOff x="0" y="0"/>
            <a:chExt cx="6890004" cy="6858000"/>
          </a:xfrm>
          <a:solidFill>
            <a:srgbClr val="F4772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B528590-F423-BB4C-A1D4-FA628823E6F8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E49D0AFC-99BA-35B7-AC05-B93013F33374}"/>
                </a:ext>
              </a:extLst>
            </p:cNvPr>
            <p:cNvSpPr/>
            <p:nvPr/>
          </p:nvSpPr>
          <p:spPr bwMode="gray">
            <a:xfrm>
              <a:off x="6268212" y="5096149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361ECE3-F154-2DEB-14FC-558429C2FD47}"/>
              </a:ext>
            </a:extLst>
          </p:cNvPr>
          <p:cNvGrpSpPr/>
          <p:nvPr/>
        </p:nvGrpSpPr>
        <p:grpSpPr>
          <a:xfrm>
            <a:off x="1467739" y="0"/>
            <a:ext cx="7086108" cy="6858000"/>
            <a:chOff x="0" y="0"/>
            <a:chExt cx="6894576" cy="6858000"/>
          </a:xfrm>
          <a:solidFill>
            <a:schemeClr val="accent1">
              <a:lumMod val="60000"/>
              <a:lumOff val="4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780FEEB-8D0F-90B6-1A1F-C9F49D53E680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07F70EA3-515F-DA2E-042A-D7AE439F3D4C}"/>
                </a:ext>
              </a:extLst>
            </p:cNvPr>
            <p:cNvSpPr/>
            <p:nvPr/>
          </p:nvSpPr>
          <p:spPr bwMode="gray">
            <a:xfrm>
              <a:off x="6272784" y="4250799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192BC66-76E8-BCBD-C7C0-5B3B638E1080}"/>
              </a:ext>
            </a:extLst>
          </p:cNvPr>
          <p:cNvGrpSpPr/>
          <p:nvPr/>
        </p:nvGrpSpPr>
        <p:grpSpPr>
          <a:xfrm>
            <a:off x="972191" y="0"/>
            <a:ext cx="7316782" cy="6858000"/>
            <a:chOff x="0" y="0"/>
            <a:chExt cx="6864858" cy="6858000"/>
          </a:xfrm>
          <a:solidFill>
            <a:schemeClr val="bg2">
              <a:lumMod val="5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CA535B8-2004-0858-8B18-157F15772E1D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226F4AE2-2E24-DA6B-724D-5FA94C84E290}"/>
                </a:ext>
              </a:extLst>
            </p:cNvPr>
            <p:cNvSpPr/>
            <p:nvPr/>
          </p:nvSpPr>
          <p:spPr bwMode="gray">
            <a:xfrm>
              <a:off x="6243066" y="3402058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0CF6D9D-BBAF-E057-73EE-525CA147DB69}"/>
              </a:ext>
            </a:extLst>
          </p:cNvPr>
          <p:cNvGrpSpPr/>
          <p:nvPr/>
        </p:nvGrpSpPr>
        <p:grpSpPr>
          <a:xfrm>
            <a:off x="803369" y="0"/>
            <a:ext cx="7320104" cy="6858000"/>
            <a:chOff x="0" y="0"/>
            <a:chExt cx="6854176" cy="6858000"/>
          </a:xfrm>
          <a:blipFill dpi="0" rotWithShape="1">
            <a:blip r:embed="rId4">
              <a:alphaModFix amt="6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0322D5F-6239-3743-8B0B-D51365976C36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59A45A43-DC94-ECBE-E2B8-9F5A2E80482A}"/>
                </a:ext>
              </a:extLst>
            </p:cNvPr>
            <p:cNvSpPr/>
            <p:nvPr/>
          </p:nvSpPr>
          <p:spPr bwMode="gray">
            <a:xfrm>
              <a:off x="6232384" y="2598162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5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106D612-C7DD-A8D8-9F2A-13CDB962CD35}"/>
              </a:ext>
            </a:extLst>
          </p:cNvPr>
          <p:cNvGrpSpPr/>
          <p:nvPr/>
        </p:nvGrpSpPr>
        <p:grpSpPr>
          <a:xfrm>
            <a:off x="-5448898" y="0"/>
            <a:ext cx="6874993" cy="6858000"/>
            <a:chOff x="0" y="0"/>
            <a:chExt cx="6874993" cy="6858000"/>
          </a:xfrm>
          <a:solidFill>
            <a:schemeClr val="accent1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7CF4F10-40AF-9776-7776-2BBFD0765C9A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7188B49E-292D-A4C6-C6DE-5DDF62D61F34}"/>
                </a:ext>
              </a:extLst>
            </p:cNvPr>
            <p:cNvSpPr/>
            <p:nvPr/>
          </p:nvSpPr>
          <p:spPr bwMode="gray">
            <a:xfrm>
              <a:off x="6253201" y="1749421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6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46A5B1A-EE57-7C69-6294-7B74989B2136}"/>
              </a:ext>
            </a:extLst>
          </p:cNvPr>
          <p:cNvGrpSpPr/>
          <p:nvPr/>
        </p:nvGrpSpPr>
        <p:grpSpPr>
          <a:xfrm>
            <a:off x="-5616786" y="0"/>
            <a:ext cx="6864858" cy="6858000"/>
            <a:chOff x="0" y="0"/>
            <a:chExt cx="6864858" cy="6858000"/>
          </a:xfrm>
          <a:solidFill>
            <a:schemeClr val="tx2">
              <a:lumMod val="40000"/>
              <a:lumOff val="6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769D7CE-C16B-CB8A-2326-D4DC2B2A329F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E3D3732D-E97E-3C99-CEE6-3E5089322ED3}"/>
                </a:ext>
              </a:extLst>
            </p:cNvPr>
            <p:cNvSpPr/>
            <p:nvPr/>
          </p:nvSpPr>
          <p:spPr bwMode="gray">
            <a:xfrm>
              <a:off x="6243066" y="819021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7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4E7FCABD-C8DE-0A3C-1948-0B424494BCC0}"/>
              </a:ext>
            </a:extLst>
          </p:cNvPr>
          <p:cNvGrpSpPr/>
          <p:nvPr/>
        </p:nvGrpSpPr>
        <p:grpSpPr>
          <a:xfrm>
            <a:off x="-5849979" y="-29720"/>
            <a:ext cx="6824903" cy="6860778"/>
            <a:chOff x="0" y="-2778"/>
            <a:chExt cx="6824903" cy="6860778"/>
          </a:xfrm>
          <a:solidFill>
            <a:srgbClr val="DC0032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F619B70D-5D2F-0660-12AC-44329355C113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4807B94D-0063-7FE8-E6E4-FB597AE04E66}"/>
                </a:ext>
              </a:extLst>
            </p:cNvPr>
            <p:cNvSpPr/>
            <p:nvPr/>
          </p:nvSpPr>
          <p:spPr bwMode="gray">
            <a:xfrm>
              <a:off x="6203111" y="-2778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8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E1091D4B-C79E-70FB-8E16-45DC649751B3}"/>
              </a:ext>
            </a:extLst>
          </p:cNvPr>
          <p:cNvSpPr txBox="1"/>
          <p:nvPr/>
        </p:nvSpPr>
        <p:spPr bwMode="gray">
          <a:xfrm>
            <a:off x="2470888" y="1335204"/>
            <a:ext cx="3717574" cy="384721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2500" b="1" dirty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BOUT THE DATA</a:t>
            </a:r>
            <a:endParaRPr lang="en-ZA" sz="2500" b="1" dirty="0">
              <a:solidFill>
                <a:schemeClr val="tx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Graphic 4" descr="Bar chart with solid fill">
            <a:extLst>
              <a:ext uri="{FF2B5EF4-FFF2-40B4-BE49-F238E27FC236}">
                <a16:creationId xmlns:a16="http://schemas.microsoft.com/office/drawing/2014/main" id="{2B25068E-EAEB-5108-D37A-3B38B69EF6B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3678671" y="30462"/>
            <a:ext cx="1304742" cy="1304742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93277467-C958-202D-36E1-654295B65780}"/>
              </a:ext>
            </a:extLst>
          </p:cNvPr>
          <p:cNvSpPr txBox="1"/>
          <p:nvPr/>
        </p:nvSpPr>
        <p:spPr bwMode="gray">
          <a:xfrm>
            <a:off x="1376827" y="1973062"/>
            <a:ext cx="5921869" cy="4778231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en-US" sz="1400" b="1" dirty="0">
                <a:latin typeface="Arial" panose="020B0604020202020204" pitchFamily="34" charset="0"/>
              </a:rPr>
              <a:t>Province:</a:t>
            </a:r>
            <a:r>
              <a:rPr lang="en-US" altLang="en-US" sz="1400" dirty="0">
                <a:latin typeface="Arial" panose="020B0604020202020204" pitchFamily="34" charset="0"/>
              </a:rPr>
              <a:t> South African province where the data was recorded</a:t>
            </a: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en-US" sz="1400" b="1" dirty="0">
                <a:latin typeface="Arial" panose="020B0604020202020204" pitchFamily="34" charset="0"/>
              </a:rPr>
              <a:t>Year:</a:t>
            </a:r>
            <a:r>
              <a:rPr lang="en-US" altLang="en-US" sz="1400" dirty="0">
                <a:latin typeface="Arial" panose="020B0604020202020204" pitchFamily="34" charset="0"/>
              </a:rPr>
              <a:t> Calendar year of observation</a:t>
            </a: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en-US" sz="1400" b="1" dirty="0">
                <a:latin typeface="Arial" panose="020B0604020202020204" pitchFamily="34" charset="0"/>
              </a:rPr>
              <a:t>Month:</a:t>
            </a:r>
            <a:r>
              <a:rPr lang="en-US" altLang="en-US" sz="1400" dirty="0">
                <a:latin typeface="Arial" panose="020B0604020202020204" pitchFamily="34" charset="0"/>
              </a:rPr>
              <a:t> Month of observation</a:t>
            </a: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en-US" sz="1400" b="1" dirty="0">
                <a:latin typeface="Arial" panose="020B0604020202020204" pitchFamily="34" charset="0"/>
              </a:rPr>
              <a:t>Maximum Temperature:</a:t>
            </a:r>
            <a:r>
              <a:rPr lang="en-US" altLang="en-US" sz="1400" dirty="0">
                <a:latin typeface="Arial" panose="020B0604020202020204" pitchFamily="34" charset="0"/>
              </a:rPr>
              <a:t> Highest monthly temperature recorded</a:t>
            </a: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en-US" sz="1400" b="1" dirty="0">
                <a:latin typeface="Arial" panose="020B0604020202020204" pitchFamily="34" charset="0"/>
              </a:rPr>
              <a:t>Minimum Temperature:</a:t>
            </a:r>
            <a:r>
              <a:rPr lang="en-US" altLang="en-US" sz="1400" dirty="0">
                <a:latin typeface="Arial" panose="020B0604020202020204" pitchFamily="34" charset="0"/>
              </a:rPr>
              <a:t> Lowest monthly temperature recorded</a:t>
            </a: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en-US" sz="1400" b="1" dirty="0">
                <a:latin typeface="Arial" panose="020B0604020202020204" pitchFamily="34" charset="0"/>
              </a:rPr>
              <a:t>Average Temperature:</a:t>
            </a:r>
            <a:r>
              <a:rPr lang="en-US" altLang="en-US" sz="1400" dirty="0">
                <a:latin typeface="Arial" panose="020B0604020202020204" pitchFamily="34" charset="0"/>
              </a:rPr>
              <a:t> Mean monthly temperature</a:t>
            </a: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en-US" sz="1400" b="1" dirty="0">
                <a:latin typeface="Arial" panose="020B0604020202020204" pitchFamily="34" charset="0"/>
              </a:rPr>
              <a:t>Air Pressure:</a:t>
            </a:r>
            <a:r>
              <a:rPr lang="en-US" altLang="en-US" sz="1400" dirty="0">
                <a:latin typeface="Arial" panose="020B0604020202020204" pitchFamily="34" charset="0"/>
              </a:rPr>
              <a:t> Atmospheric pressure</a:t>
            </a: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en-US" sz="1400" b="1" dirty="0">
                <a:latin typeface="Arial" panose="020B0604020202020204" pitchFamily="34" charset="0"/>
              </a:rPr>
              <a:t>Wind Speed:</a:t>
            </a:r>
            <a:r>
              <a:rPr lang="en-US" altLang="en-US" sz="1400" dirty="0">
                <a:latin typeface="Arial" panose="020B0604020202020204" pitchFamily="34" charset="0"/>
              </a:rPr>
              <a:t> Average monthly wind speed</a:t>
            </a: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en-US" sz="1400" b="1" dirty="0">
                <a:latin typeface="Arial" panose="020B0604020202020204" pitchFamily="34" charset="0"/>
              </a:rPr>
              <a:t>Humidity:</a:t>
            </a:r>
            <a:r>
              <a:rPr lang="en-US" altLang="en-US" sz="1400" dirty="0">
                <a:latin typeface="Arial" panose="020B0604020202020204" pitchFamily="34" charset="0"/>
              </a:rPr>
              <a:t> Average relative humidity</a:t>
            </a: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en-US" sz="1400" b="1" dirty="0">
                <a:latin typeface="Arial" panose="020B0604020202020204" pitchFamily="34" charset="0"/>
              </a:rPr>
              <a:t>Precipitation:</a:t>
            </a:r>
            <a:r>
              <a:rPr lang="en-US" altLang="en-US" sz="1400" dirty="0">
                <a:latin typeface="Arial" panose="020B0604020202020204" pitchFamily="34" charset="0"/>
              </a:rPr>
              <a:t> Total monthly rainfall</a:t>
            </a: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en-US" sz="1400" b="1" dirty="0">
                <a:latin typeface="Arial" panose="020B0604020202020204" pitchFamily="34" charset="0"/>
              </a:rPr>
              <a:t>Water in Dam:</a:t>
            </a:r>
            <a:r>
              <a:rPr lang="en-US" altLang="en-US" sz="1400" dirty="0">
                <a:latin typeface="Arial" panose="020B0604020202020204" pitchFamily="34" charset="0"/>
              </a:rPr>
              <a:t> Volume of water stored in the dam</a:t>
            </a: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en-US" sz="1400" b="1" dirty="0">
                <a:latin typeface="Arial" panose="020B0604020202020204" pitchFamily="34" charset="0"/>
              </a:rPr>
              <a:t>Full Storage Capacity:</a:t>
            </a:r>
            <a:r>
              <a:rPr lang="en-US" altLang="en-US" sz="1400" dirty="0">
                <a:latin typeface="Arial" panose="020B0604020202020204" pitchFamily="34" charset="0"/>
              </a:rPr>
              <a:t> Maximum storage capacity of the dam</a:t>
            </a: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en-US" sz="1400" b="1" dirty="0">
                <a:latin typeface="Arial" panose="020B0604020202020204" pitchFamily="34" charset="0"/>
              </a:rPr>
              <a:t>Dam Level:</a:t>
            </a:r>
            <a:r>
              <a:rPr lang="en-US" altLang="en-US" sz="1400" dirty="0">
                <a:latin typeface="Arial" panose="020B0604020202020204" pitchFamily="34" charset="0"/>
              </a:rPr>
              <a:t> Percentage of dam capacity filled</a:t>
            </a: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en-US" sz="1400" b="1" dirty="0">
                <a:latin typeface="Arial" panose="020B0604020202020204" pitchFamily="34" charset="0"/>
              </a:rPr>
              <a:t>Dam Name:</a:t>
            </a:r>
            <a:r>
              <a:rPr lang="en-US" altLang="en-US" sz="1400" dirty="0">
                <a:latin typeface="Arial" panose="020B0604020202020204" pitchFamily="34" charset="0"/>
              </a:rPr>
              <a:t> Official name of the dam</a:t>
            </a:r>
          </a:p>
          <a:p>
            <a:pPr algn="ctr">
              <a:spcBef>
                <a:spcPts val="300"/>
              </a:spcBef>
            </a:pPr>
            <a:endParaRPr lang="en-US" sz="1400" dirty="0">
              <a:solidFill>
                <a:schemeClr val="tx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647407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4000">
        <p159:morph option="byObject"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AA6122-B21F-029E-18B7-35E67349EA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3DCFC6A-2B6C-CA89-927F-D0AAB2E14ABF}"/>
              </a:ext>
            </a:extLst>
          </p:cNvPr>
          <p:cNvSpPr/>
          <p:nvPr/>
        </p:nvSpPr>
        <p:spPr bwMode="gray">
          <a:xfrm>
            <a:off x="0" y="0"/>
            <a:ext cx="12070080" cy="6858000"/>
          </a:xfrm>
          <a:prstGeom prst="rect">
            <a:avLst/>
          </a:prstGeom>
          <a:blipFill>
            <a:blip r:embed="rId3">
              <a:alphaModFix amt="35000"/>
            </a:blip>
            <a:stretch>
              <a:fillRect/>
            </a:stretch>
          </a:blip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ZA" sz="16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455A374-CFE7-365B-6D90-E63B2C38092D}"/>
              </a:ext>
            </a:extLst>
          </p:cNvPr>
          <p:cNvGrpSpPr/>
          <p:nvPr/>
        </p:nvGrpSpPr>
        <p:grpSpPr>
          <a:xfrm>
            <a:off x="1467739" y="0"/>
            <a:ext cx="7479154" cy="6858000"/>
            <a:chOff x="0" y="0"/>
            <a:chExt cx="6858000" cy="6858000"/>
          </a:xfrm>
          <a:solidFill>
            <a:schemeClr val="tx2">
              <a:lumMod val="5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8A114EA-8667-5C2E-0430-038D14D9C842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48FBD03A-C1E7-7611-FA63-F01E431F7C56}"/>
                </a:ext>
              </a:extLst>
            </p:cNvPr>
            <p:cNvSpPr/>
            <p:nvPr/>
          </p:nvSpPr>
          <p:spPr bwMode="gray">
            <a:xfrm>
              <a:off x="6236208" y="5897880"/>
              <a:ext cx="621792" cy="960120"/>
            </a:xfrm>
            <a:prstGeom prst="round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89400B9-9021-AE0C-0DC0-C87B5DB23E35}"/>
              </a:ext>
            </a:extLst>
          </p:cNvPr>
          <p:cNvGrpSpPr/>
          <p:nvPr/>
        </p:nvGrpSpPr>
        <p:grpSpPr>
          <a:xfrm>
            <a:off x="1568359" y="0"/>
            <a:ext cx="7228254" cy="6858000"/>
            <a:chOff x="0" y="0"/>
            <a:chExt cx="6890004" cy="6858000"/>
          </a:xfrm>
          <a:solidFill>
            <a:srgbClr val="F4772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646DFB3A-4EA7-26CA-E9D4-CD89764D9C54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82CE77F1-70CA-D18C-7752-B59AEF10160E}"/>
                </a:ext>
              </a:extLst>
            </p:cNvPr>
            <p:cNvSpPr/>
            <p:nvPr/>
          </p:nvSpPr>
          <p:spPr bwMode="gray">
            <a:xfrm>
              <a:off x="6268212" y="5096149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282D905-F61D-7BFF-D0F4-A1917178F6D6}"/>
              </a:ext>
            </a:extLst>
          </p:cNvPr>
          <p:cNvGrpSpPr/>
          <p:nvPr/>
        </p:nvGrpSpPr>
        <p:grpSpPr>
          <a:xfrm>
            <a:off x="1467739" y="0"/>
            <a:ext cx="7086108" cy="6858000"/>
            <a:chOff x="0" y="0"/>
            <a:chExt cx="6894576" cy="6858000"/>
          </a:xfrm>
          <a:solidFill>
            <a:schemeClr val="accent1">
              <a:lumMod val="60000"/>
              <a:lumOff val="4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919D39D-2286-8614-08C0-A6A7C0277FEB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827781F7-5AFF-A60A-209A-397C1A21F3E5}"/>
                </a:ext>
              </a:extLst>
            </p:cNvPr>
            <p:cNvSpPr/>
            <p:nvPr/>
          </p:nvSpPr>
          <p:spPr bwMode="gray">
            <a:xfrm>
              <a:off x="6272784" y="4250799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DAE1987-BBE0-6075-5355-4E4FAE1EBC26}"/>
              </a:ext>
            </a:extLst>
          </p:cNvPr>
          <p:cNvGrpSpPr/>
          <p:nvPr/>
        </p:nvGrpSpPr>
        <p:grpSpPr>
          <a:xfrm>
            <a:off x="972191" y="0"/>
            <a:ext cx="7316782" cy="6858000"/>
            <a:chOff x="0" y="0"/>
            <a:chExt cx="6864858" cy="6858000"/>
          </a:xfrm>
          <a:solidFill>
            <a:schemeClr val="bg2">
              <a:lumMod val="5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5CA9883-B361-FD93-4077-E54221D8A005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E8040D49-4DEF-3795-5BE3-0DA939126676}"/>
                </a:ext>
              </a:extLst>
            </p:cNvPr>
            <p:cNvSpPr/>
            <p:nvPr/>
          </p:nvSpPr>
          <p:spPr bwMode="gray">
            <a:xfrm>
              <a:off x="6243066" y="3402058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0BCAF63-2B0E-A490-AD3C-B2B8D2C11645}"/>
              </a:ext>
            </a:extLst>
          </p:cNvPr>
          <p:cNvGrpSpPr/>
          <p:nvPr/>
        </p:nvGrpSpPr>
        <p:grpSpPr>
          <a:xfrm>
            <a:off x="803369" y="0"/>
            <a:ext cx="7320104" cy="6858000"/>
            <a:chOff x="0" y="0"/>
            <a:chExt cx="6854176" cy="6858000"/>
          </a:xfrm>
          <a:solidFill>
            <a:srgbClr val="500A28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9A5D031-ABD0-A8C4-E3D8-C982FB43F300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FB80B97F-19C1-E60A-7DA8-899F900676F9}"/>
                </a:ext>
              </a:extLst>
            </p:cNvPr>
            <p:cNvSpPr/>
            <p:nvPr/>
          </p:nvSpPr>
          <p:spPr bwMode="gray">
            <a:xfrm>
              <a:off x="6232384" y="2598162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5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E4084F4-1A68-4C47-47B1-E7B2B8B038B1}"/>
              </a:ext>
            </a:extLst>
          </p:cNvPr>
          <p:cNvGrpSpPr/>
          <p:nvPr/>
        </p:nvGrpSpPr>
        <p:grpSpPr>
          <a:xfrm>
            <a:off x="677859" y="26942"/>
            <a:ext cx="7238313" cy="6858000"/>
            <a:chOff x="0" y="0"/>
            <a:chExt cx="6874993" cy="6858000"/>
          </a:xfrm>
          <a:blipFill dpi="0" rotWithShape="1">
            <a:blip r:embed="rId4">
              <a:alphaModFix amt="6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F4C08D3-F871-43DE-D648-DE337DF3F460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D020ED61-FCAD-3741-3814-3B20711B8103}"/>
                </a:ext>
              </a:extLst>
            </p:cNvPr>
            <p:cNvSpPr/>
            <p:nvPr/>
          </p:nvSpPr>
          <p:spPr bwMode="gray">
            <a:xfrm>
              <a:off x="6253201" y="1749421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6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4899139-C76C-0971-7B1A-24A8C6AC6056}"/>
              </a:ext>
            </a:extLst>
          </p:cNvPr>
          <p:cNvGrpSpPr/>
          <p:nvPr/>
        </p:nvGrpSpPr>
        <p:grpSpPr>
          <a:xfrm>
            <a:off x="-5616786" y="0"/>
            <a:ext cx="6864858" cy="6858000"/>
            <a:chOff x="0" y="0"/>
            <a:chExt cx="6864858" cy="6858000"/>
          </a:xfrm>
          <a:solidFill>
            <a:schemeClr val="tx2">
              <a:lumMod val="40000"/>
              <a:lumOff val="6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2AABE9B-D5B6-2C29-49BB-B9FC2E131C74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35DA28AF-97BF-CF83-935F-56960AF48200}"/>
                </a:ext>
              </a:extLst>
            </p:cNvPr>
            <p:cNvSpPr/>
            <p:nvPr/>
          </p:nvSpPr>
          <p:spPr bwMode="gray">
            <a:xfrm>
              <a:off x="6243066" y="819021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7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BC51E47-2BE1-FED6-493D-B370ABF20AE3}"/>
              </a:ext>
            </a:extLst>
          </p:cNvPr>
          <p:cNvGrpSpPr/>
          <p:nvPr/>
        </p:nvGrpSpPr>
        <p:grpSpPr>
          <a:xfrm>
            <a:off x="-5849979" y="-29720"/>
            <a:ext cx="6824903" cy="6860778"/>
            <a:chOff x="0" y="-2778"/>
            <a:chExt cx="6824903" cy="6860778"/>
          </a:xfrm>
          <a:solidFill>
            <a:srgbClr val="DC0032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2D571C2-BF5E-9830-CB50-20D0DB084CFE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AD34CCE7-6C9A-5A8C-E86B-27C31AA22872}"/>
                </a:ext>
              </a:extLst>
            </p:cNvPr>
            <p:cNvSpPr/>
            <p:nvPr/>
          </p:nvSpPr>
          <p:spPr bwMode="gray">
            <a:xfrm>
              <a:off x="6203111" y="-2778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8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8356460-63C2-3545-06FA-90BF42D1503B}"/>
              </a:ext>
            </a:extLst>
          </p:cNvPr>
          <p:cNvSpPr txBox="1"/>
          <p:nvPr/>
        </p:nvSpPr>
        <p:spPr bwMode="gray">
          <a:xfrm>
            <a:off x="2431475" y="2367621"/>
            <a:ext cx="3717574" cy="384721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2500" b="1" dirty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IMPORTANT NOTES</a:t>
            </a:r>
            <a:endParaRPr lang="en-ZA" sz="2500" b="1" dirty="0">
              <a:solidFill>
                <a:schemeClr val="tx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Graphic 4" descr="Comment Important with solid fill">
            <a:extLst>
              <a:ext uri="{FF2B5EF4-FFF2-40B4-BE49-F238E27FC236}">
                <a16:creationId xmlns:a16="http://schemas.microsoft.com/office/drawing/2014/main" id="{EBA6D1B0-12CD-59A4-5386-1EB5553CBA4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3540142" y="1094427"/>
            <a:ext cx="1474840" cy="147484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10435D0-05E7-30B9-180E-163C62128B62}"/>
              </a:ext>
            </a:extLst>
          </p:cNvPr>
          <p:cNvSpPr txBox="1"/>
          <p:nvPr/>
        </p:nvSpPr>
        <p:spPr bwMode="gray">
          <a:xfrm>
            <a:off x="1408168" y="3224167"/>
            <a:ext cx="5738787" cy="1762983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</a:schemeClr>
            </a:solidFill>
          </a:ln>
        </p:spPr>
        <p:txBody>
          <a:bodyPr wrap="square" lIns="0" tIns="0" rIns="0" bIns="0" rtlCol="0" anchor="t">
            <a:spAutoFit/>
          </a:bodyPr>
          <a:lstStyle/>
          <a:p>
            <a:pPr marL="800100" lvl="1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en-US" sz="14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hink carefully about which variables to include. Use variable selection techniques to your advantage.</a:t>
            </a:r>
          </a:p>
          <a:p>
            <a:pPr lvl="1">
              <a:lnSpc>
                <a:spcPct val="107000"/>
              </a:lnSpc>
            </a:pPr>
            <a:endParaRPr lang="en-ZA" sz="14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14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est the statistical assumptions of the fitted model. Are all assumptions met?</a:t>
            </a:r>
            <a:endParaRPr lang="en-ZA" sz="14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</a:pPr>
            <a:endParaRPr lang="en-US" sz="1400" dirty="0">
              <a:solidFill>
                <a:schemeClr val="tx1">
                  <a:lumMod val="50000"/>
                </a:schemeClr>
              </a:solidFill>
              <a:cs typeface="Arial"/>
            </a:endParaRPr>
          </a:p>
          <a:p>
            <a:pPr algn="ctr">
              <a:spcBef>
                <a:spcPts val="300"/>
              </a:spcBef>
            </a:pPr>
            <a:endParaRPr lang="en-US" sz="1400" dirty="0">
              <a:solidFill>
                <a:schemeClr val="tx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856228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4000">
        <p159:morph option="byObject"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EC7916-3AEF-68B4-A361-2365591226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35CCCF2-C71F-100B-5114-D96B84B04EAF}"/>
              </a:ext>
            </a:extLst>
          </p:cNvPr>
          <p:cNvSpPr/>
          <p:nvPr/>
        </p:nvSpPr>
        <p:spPr bwMode="gray">
          <a:xfrm>
            <a:off x="0" y="0"/>
            <a:ext cx="12070080" cy="6858000"/>
          </a:xfrm>
          <a:prstGeom prst="rect">
            <a:avLst/>
          </a:prstGeom>
          <a:blipFill>
            <a:blip r:embed="rId3">
              <a:alphaModFix amt="35000"/>
            </a:blip>
            <a:stretch>
              <a:fillRect/>
            </a:stretch>
          </a:blip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ZA" sz="16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AB31EAB-7ADD-47F5-4BBC-7D3971CC1D6C}"/>
              </a:ext>
            </a:extLst>
          </p:cNvPr>
          <p:cNvGrpSpPr/>
          <p:nvPr/>
        </p:nvGrpSpPr>
        <p:grpSpPr>
          <a:xfrm>
            <a:off x="1467739" y="0"/>
            <a:ext cx="7479154" cy="6858000"/>
            <a:chOff x="0" y="0"/>
            <a:chExt cx="6858000" cy="6858000"/>
          </a:xfrm>
          <a:solidFill>
            <a:schemeClr val="tx2">
              <a:lumMod val="5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BD802B5-05F5-ADB7-B086-E5366B3B9FB6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45F5DC8C-7C33-B95C-6AAA-1471457C97E4}"/>
                </a:ext>
              </a:extLst>
            </p:cNvPr>
            <p:cNvSpPr/>
            <p:nvPr/>
          </p:nvSpPr>
          <p:spPr bwMode="gray">
            <a:xfrm>
              <a:off x="6236208" y="5897880"/>
              <a:ext cx="621792" cy="960120"/>
            </a:xfrm>
            <a:prstGeom prst="round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6FBA209-0844-21CE-8258-525950FC6B6E}"/>
              </a:ext>
            </a:extLst>
          </p:cNvPr>
          <p:cNvGrpSpPr/>
          <p:nvPr/>
        </p:nvGrpSpPr>
        <p:grpSpPr>
          <a:xfrm>
            <a:off x="1568359" y="0"/>
            <a:ext cx="7228254" cy="6858000"/>
            <a:chOff x="0" y="0"/>
            <a:chExt cx="6890004" cy="6858000"/>
          </a:xfrm>
          <a:solidFill>
            <a:srgbClr val="F4772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8A4A16B-C4FF-C2B8-D711-8854783ED387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5370BE68-A874-7D86-9EA5-808123EEAD25}"/>
                </a:ext>
              </a:extLst>
            </p:cNvPr>
            <p:cNvSpPr/>
            <p:nvPr/>
          </p:nvSpPr>
          <p:spPr bwMode="gray">
            <a:xfrm>
              <a:off x="6268212" y="5096149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F929F18-A3D4-E374-2467-8ED5136AFD4E}"/>
              </a:ext>
            </a:extLst>
          </p:cNvPr>
          <p:cNvGrpSpPr/>
          <p:nvPr/>
        </p:nvGrpSpPr>
        <p:grpSpPr>
          <a:xfrm>
            <a:off x="1467739" y="0"/>
            <a:ext cx="7086108" cy="6858000"/>
            <a:chOff x="0" y="0"/>
            <a:chExt cx="6894576" cy="6858000"/>
          </a:xfrm>
          <a:solidFill>
            <a:schemeClr val="accent1">
              <a:lumMod val="60000"/>
              <a:lumOff val="4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596EFAB-BFE1-ABDA-00A8-16ABDA71364F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641E7F62-7DBF-373F-C452-84C84E738BFC}"/>
                </a:ext>
              </a:extLst>
            </p:cNvPr>
            <p:cNvSpPr/>
            <p:nvPr/>
          </p:nvSpPr>
          <p:spPr bwMode="gray">
            <a:xfrm>
              <a:off x="6272784" y="4250799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308A446-16D3-55AF-9203-E7C0A3377C33}"/>
              </a:ext>
            </a:extLst>
          </p:cNvPr>
          <p:cNvGrpSpPr/>
          <p:nvPr/>
        </p:nvGrpSpPr>
        <p:grpSpPr>
          <a:xfrm>
            <a:off x="972191" y="0"/>
            <a:ext cx="7316782" cy="6858000"/>
            <a:chOff x="0" y="0"/>
            <a:chExt cx="6864858" cy="6858000"/>
          </a:xfrm>
          <a:solidFill>
            <a:schemeClr val="bg2">
              <a:lumMod val="5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BF600F2-93E9-F150-9047-42BEB4F4C188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6D408B85-D56B-E6D6-ED6F-89A893257E9B}"/>
                </a:ext>
              </a:extLst>
            </p:cNvPr>
            <p:cNvSpPr/>
            <p:nvPr/>
          </p:nvSpPr>
          <p:spPr bwMode="gray">
            <a:xfrm>
              <a:off x="6243066" y="3402058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C467B86-05DC-F9C5-8659-E6CD655204EF}"/>
              </a:ext>
            </a:extLst>
          </p:cNvPr>
          <p:cNvGrpSpPr/>
          <p:nvPr/>
        </p:nvGrpSpPr>
        <p:grpSpPr>
          <a:xfrm>
            <a:off x="803369" y="0"/>
            <a:ext cx="7320104" cy="6858000"/>
            <a:chOff x="0" y="0"/>
            <a:chExt cx="6854176" cy="6858000"/>
          </a:xfrm>
          <a:solidFill>
            <a:srgbClr val="500A28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4AD6A73-4656-960D-F106-91966AC2541F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A8348B0D-2F0C-87DA-361B-8305A27F4B54}"/>
                </a:ext>
              </a:extLst>
            </p:cNvPr>
            <p:cNvSpPr/>
            <p:nvPr/>
          </p:nvSpPr>
          <p:spPr bwMode="gray">
            <a:xfrm>
              <a:off x="6232384" y="2598162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5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30EB4C1-624E-B22D-7439-20AD9BEEC060}"/>
              </a:ext>
            </a:extLst>
          </p:cNvPr>
          <p:cNvGrpSpPr/>
          <p:nvPr/>
        </p:nvGrpSpPr>
        <p:grpSpPr>
          <a:xfrm>
            <a:off x="677859" y="26942"/>
            <a:ext cx="7238313" cy="6858000"/>
            <a:chOff x="0" y="0"/>
            <a:chExt cx="6874993" cy="6858000"/>
          </a:xfrm>
          <a:solidFill>
            <a:schemeClr val="accent1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04DE1C9-8F40-93F2-BB51-217E2B177F22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FBFDF44E-20DB-0ACE-69B2-85C6025C86D6}"/>
                </a:ext>
              </a:extLst>
            </p:cNvPr>
            <p:cNvSpPr/>
            <p:nvPr/>
          </p:nvSpPr>
          <p:spPr bwMode="gray">
            <a:xfrm>
              <a:off x="6253201" y="1749421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6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9C736A1-1607-6618-08CF-E4EC04E44962}"/>
              </a:ext>
            </a:extLst>
          </p:cNvPr>
          <p:cNvGrpSpPr/>
          <p:nvPr/>
        </p:nvGrpSpPr>
        <p:grpSpPr>
          <a:xfrm>
            <a:off x="353132" y="26942"/>
            <a:ext cx="7282598" cy="6858000"/>
            <a:chOff x="0" y="0"/>
            <a:chExt cx="6864858" cy="6858000"/>
          </a:xfrm>
          <a:blipFill dpi="0" rotWithShape="1">
            <a:blip r:embed="rId4">
              <a:alphaModFix amt="6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A3740856-BDEA-6920-0EDF-6E6B90C2930C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9CC7E9A0-7FD0-9998-D80D-2B96741E169B}"/>
                </a:ext>
              </a:extLst>
            </p:cNvPr>
            <p:cNvSpPr/>
            <p:nvPr/>
          </p:nvSpPr>
          <p:spPr bwMode="gray">
            <a:xfrm>
              <a:off x="6243066" y="819021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7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62E1D95-0664-9F43-3822-118F1372D706}"/>
              </a:ext>
            </a:extLst>
          </p:cNvPr>
          <p:cNvGrpSpPr/>
          <p:nvPr/>
        </p:nvGrpSpPr>
        <p:grpSpPr>
          <a:xfrm>
            <a:off x="-5849979" y="-29720"/>
            <a:ext cx="6824903" cy="6860778"/>
            <a:chOff x="0" y="-2778"/>
            <a:chExt cx="6824903" cy="6860778"/>
          </a:xfrm>
          <a:solidFill>
            <a:srgbClr val="DC0032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7D892ED-0652-784B-90AE-147FEC18C05E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0B3CCB30-914E-0041-4CE7-05141E7C5002}"/>
                </a:ext>
              </a:extLst>
            </p:cNvPr>
            <p:cNvSpPr/>
            <p:nvPr/>
          </p:nvSpPr>
          <p:spPr bwMode="gray">
            <a:xfrm>
              <a:off x="6203111" y="-2778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8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4E79F31A-D2C9-858D-CCE3-6067EACD42D4}"/>
              </a:ext>
            </a:extLst>
          </p:cNvPr>
          <p:cNvSpPr txBox="1"/>
          <p:nvPr/>
        </p:nvSpPr>
        <p:spPr bwMode="gray">
          <a:xfrm>
            <a:off x="651361" y="1214648"/>
            <a:ext cx="6123421" cy="384721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2500" b="1" dirty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STEPS TO COMPLETE THE PROJECT</a:t>
            </a:r>
            <a:endParaRPr lang="en-ZA" sz="2500" b="1" dirty="0">
              <a:solidFill>
                <a:schemeClr val="tx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Graphic 4" descr="Dance steps with solid fill">
            <a:extLst>
              <a:ext uri="{FF2B5EF4-FFF2-40B4-BE49-F238E27FC236}">
                <a16:creationId xmlns:a16="http://schemas.microsoft.com/office/drawing/2014/main" id="{AC9E7F63-FCA1-DBFF-96CF-55133879DA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3339051" y="47077"/>
            <a:ext cx="1140629" cy="1140629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1628AC5-5702-ED3D-6C48-1EC997A7EE6E}"/>
              </a:ext>
            </a:extLst>
          </p:cNvPr>
          <p:cNvSpPr txBox="1"/>
          <p:nvPr/>
        </p:nvSpPr>
        <p:spPr bwMode="gray">
          <a:xfrm>
            <a:off x="725759" y="2787075"/>
            <a:ext cx="6250341" cy="216213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800100" lvl="1" indent="-3429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altLang="en-US" sz="1400" b="1" dirty="0">
                <a:latin typeface="Arial" panose="020B0604020202020204" pitchFamily="34" charset="0"/>
              </a:rPr>
              <a:t>Exploratory Data Analysis (EDA):</a:t>
            </a:r>
            <a:r>
              <a:rPr lang="en-US" altLang="en-US" sz="1400" dirty="0">
                <a:latin typeface="Arial" panose="020B0604020202020204" pitchFamily="34" charset="0"/>
              </a:rPr>
              <a:t> inspect data, identify issues</a:t>
            </a:r>
          </a:p>
          <a:p>
            <a:pPr marL="800100" lvl="1" indent="-342900" eaLnBrk="0" fontAlgn="base" hangingPunct="0">
              <a:spcBef>
                <a:spcPct val="0"/>
              </a:spcBef>
              <a:spcAft>
                <a:spcPct val="0"/>
              </a:spcAft>
              <a:buAutoNum type="arabicPeriod"/>
            </a:pPr>
            <a:endParaRPr lang="en-US" altLang="en-US" sz="1400" dirty="0">
              <a:latin typeface="Arial" panose="020B0604020202020204" pitchFamily="34" charset="0"/>
            </a:endParaRPr>
          </a:p>
          <a:p>
            <a:pPr marL="800100" lvl="1" indent="-3429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altLang="en-US" sz="1400" b="1" dirty="0">
                <a:latin typeface="Arial" panose="020B0604020202020204" pitchFamily="34" charset="0"/>
              </a:rPr>
              <a:t>Train–Test Split:</a:t>
            </a:r>
            <a:r>
              <a:rPr lang="en-US" altLang="en-US" sz="1400" dirty="0">
                <a:latin typeface="Arial" panose="020B0604020202020204" pitchFamily="34" charset="0"/>
              </a:rPr>
              <a:t> 80/20 split, respect time order</a:t>
            </a:r>
          </a:p>
          <a:p>
            <a:pPr marL="800100" lvl="1" indent="-3429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altLang="en-US" sz="1400" dirty="0">
              <a:latin typeface="Arial" panose="020B0604020202020204" pitchFamily="34" charset="0"/>
            </a:endParaRPr>
          </a:p>
          <a:p>
            <a:pPr marL="800100" lvl="1" indent="-3429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altLang="en-US" sz="1400" b="1" dirty="0">
                <a:latin typeface="Arial" panose="020B0604020202020204" pitchFamily="34" charset="0"/>
              </a:rPr>
              <a:t>Model Fitting &amp; Selection:</a:t>
            </a:r>
            <a:r>
              <a:rPr lang="en-US" altLang="en-US" sz="1400" dirty="0">
                <a:latin typeface="Arial" panose="020B0604020202020204" pitchFamily="34" charset="0"/>
              </a:rPr>
              <a:t> fit up to 5 models, compare performance, justify best model, interpret variables</a:t>
            </a:r>
          </a:p>
          <a:p>
            <a:pPr marL="800100" lvl="1" indent="-3429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altLang="en-US" sz="1400" dirty="0">
              <a:latin typeface="Arial" panose="020B0604020202020204" pitchFamily="34" charset="0"/>
            </a:endParaRPr>
          </a:p>
          <a:p>
            <a:pPr marL="800100" lvl="1" indent="-3429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altLang="en-US" sz="1400" b="1" dirty="0">
                <a:latin typeface="Arial" panose="020B0604020202020204" pitchFamily="34" charset="0"/>
              </a:rPr>
              <a:t>Risk Mitigation (Non-Quantitative):</a:t>
            </a:r>
            <a:r>
              <a:rPr lang="en-US" altLang="en-US" sz="1400" dirty="0">
                <a:latin typeface="Arial" panose="020B0604020202020204" pitchFamily="34" charset="0"/>
              </a:rPr>
              <a:t> propose business strategies to reduce financial risk</a:t>
            </a:r>
          </a:p>
          <a:p>
            <a:pPr>
              <a:spcBef>
                <a:spcPts val="300"/>
              </a:spcBef>
            </a:pPr>
            <a:endParaRPr lang="en-US" sz="1200" dirty="0">
              <a:solidFill>
                <a:schemeClr val="tx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71996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4000">
        <p159:morph option="byObject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8F43E9-AF36-31A5-D4DD-8ACE54AF0E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5187564-D83A-1745-2F8C-A62D60E88FA7}"/>
              </a:ext>
            </a:extLst>
          </p:cNvPr>
          <p:cNvSpPr/>
          <p:nvPr/>
        </p:nvSpPr>
        <p:spPr bwMode="gray">
          <a:xfrm>
            <a:off x="0" y="0"/>
            <a:ext cx="12070080" cy="6858000"/>
          </a:xfrm>
          <a:prstGeom prst="rect">
            <a:avLst/>
          </a:prstGeom>
          <a:blipFill>
            <a:blip r:embed="rId3">
              <a:alphaModFix amt="35000"/>
            </a:blip>
            <a:stretch>
              <a:fillRect/>
            </a:stretch>
          </a:blip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ZA" sz="16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67D3213-6196-65E4-D55E-80B5E2C757AC}"/>
              </a:ext>
            </a:extLst>
          </p:cNvPr>
          <p:cNvGrpSpPr/>
          <p:nvPr/>
        </p:nvGrpSpPr>
        <p:grpSpPr>
          <a:xfrm>
            <a:off x="1467739" y="0"/>
            <a:ext cx="7479154" cy="6858000"/>
            <a:chOff x="0" y="0"/>
            <a:chExt cx="6858000" cy="6858000"/>
          </a:xfrm>
          <a:solidFill>
            <a:schemeClr val="tx2">
              <a:lumMod val="5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17CA9DE-2C96-FFC6-8DE2-2B0FA463C6A6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1717245A-A587-8860-0D1C-1A55B3004482}"/>
                </a:ext>
              </a:extLst>
            </p:cNvPr>
            <p:cNvSpPr/>
            <p:nvPr/>
          </p:nvSpPr>
          <p:spPr bwMode="gray">
            <a:xfrm>
              <a:off x="6236208" y="5897880"/>
              <a:ext cx="621792" cy="960120"/>
            </a:xfrm>
            <a:prstGeom prst="round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4FB4BB3-1EFA-4DA9-87C8-89495F557505}"/>
              </a:ext>
            </a:extLst>
          </p:cNvPr>
          <p:cNvGrpSpPr/>
          <p:nvPr/>
        </p:nvGrpSpPr>
        <p:grpSpPr>
          <a:xfrm>
            <a:off x="1568359" y="0"/>
            <a:ext cx="7228254" cy="6858000"/>
            <a:chOff x="0" y="0"/>
            <a:chExt cx="6890004" cy="6858000"/>
          </a:xfrm>
          <a:solidFill>
            <a:srgbClr val="F4772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6AFDAF5-8990-B57A-3F55-DEA9E40536E8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BF179739-DD30-F277-C881-177C01FCBE62}"/>
                </a:ext>
              </a:extLst>
            </p:cNvPr>
            <p:cNvSpPr/>
            <p:nvPr/>
          </p:nvSpPr>
          <p:spPr bwMode="gray">
            <a:xfrm>
              <a:off x="6268212" y="5096149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38970DF-CEB9-4EAF-6321-200F34397894}"/>
              </a:ext>
            </a:extLst>
          </p:cNvPr>
          <p:cNvGrpSpPr/>
          <p:nvPr/>
        </p:nvGrpSpPr>
        <p:grpSpPr>
          <a:xfrm>
            <a:off x="1467739" y="0"/>
            <a:ext cx="7086108" cy="6858000"/>
            <a:chOff x="0" y="0"/>
            <a:chExt cx="6894576" cy="6858000"/>
          </a:xfrm>
          <a:solidFill>
            <a:schemeClr val="accent1">
              <a:lumMod val="60000"/>
              <a:lumOff val="4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8C325F8-42D2-0CA3-B68D-49FBF41F7E1A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E50C2A25-322B-23CF-89B8-276BBF457142}"/>
                </a:ext>
              </a:extLst>
            </p:cNvPr>
            <p:cNvSpPr/>
            <p:nvPr/>
          </p:nvSpPr>
          <p:spPr bwMode="gray">
            <a:xfrm>
              <a:off x="6272784" y="4250799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6648147-93F5-C5BD-BD73-381417468483}"/>
              </a:ext>
            </a:extLst>
          </p:cNvPr>
          <p:cNvGrpSpPr/>
          <p:nvPr/>
        </p:nvGrpSpPr>
        <p:grpSpPr>
          <a:xfrm>
            <a:off x="972191" y="0"/>
            <a:ext cx="7316782" cy="6858000"/>
            <a:chOff x="0" y="0"/>
            <a:chExt cx="6864858" cy="6858000"/>
          </a:xfrm>
          <a:solidFill>
            <a:schemeClr val="bg2">
              <a:lumMod val="5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8A20E7E-A0EF-63B1-CCD0-BACFA9B7AAFF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EA583752-B88D-5C81-5A06-688217A0500A}"/>
                </a:ext>
              </a:extLst>
            </p:cNvPr>
            <p:cNvSpPr/>
            <p:nvPr/>
          </p:nvSpPr>
          <p:spPr bwMode="gray">
            <a:xfrm>
              <a:off x="6243066" y="3402058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62F814A-5253-59BE-3591-C22B5B678FF4}"/>
              </a:ext>
            </a:extLst>
          </p:cNvPr>
          <p:cNvGrpSpPr/>
          <p:nvPr/>
        </p:nvGrpSpPr>
        <p:grpSpPr>
          <a:xfrm>
            <a:off x="803369" y="0"/>
            <a:ext cx="7320104" cy="6858000"/>
            <a:chOff x="0" y="0"/>
            <a:chExt cx="6854176" cy="6858000"/>
          </a:xfrm>
          <a:solidFill>
            <a:srgbClr val="500A28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78B12B0-AF37-F153-234D-C0B955D76685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6C9355BE-9217-EC4C-036B-FF3C93D509A9}"/>
                </a:ext>
              </a:extLst>
            </p:cNvPr>
            <p:cNvSpPr/>
            <p:nvPr/>
          </p:nvSpPr>
          <p:spPr bwMode="gray">
            <a:xfrm>
              <a:off x="6232384" y="2598162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5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BAFD944-24E8-D0C1-01B3-3E29E19DFFB1}"/>
              </a:ext>
            </a:extLst>
          </p:cNvPr>
          <p:cNvGrpSpPr/>
          <p:nvPr/>
        </p:nvGrpSpPr>
        <p:grpSpPr>
          <a:xfrm>
            <a:off x="677859" y="26942"/>
            <a:ext cx="7238313" cy="6858000"/>
            <a:chOff x="0" y="0"/>
            <a:chExt cx="6874993" cy="6858000"/>
          </a:xfrm>
          <a:solidFill>
            <a:schemeClr val="accent1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58FF941-22F1-AA6F-6573-4F807E413744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81E42528-BC9D-2713-60D3-BAA509075FF6}"/>
                </a:ext>
              </a:extLst>
            </p:cNvPr>
            <p:cNvSpPr/>
            <p:nvPr/>
          </p:nvSpPr>
          <p:spPr bwMode="gray">
            <a:xfrm>
              <a:off x="6253201" y="1749421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6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E631140-1877-D512-CE8D-21307746B362}"/>
              </a:ext>
            </a:extLst>
          </p:cNvPr>
          <p:cNvGrpSpPr/>
          <p:nvPr/>
        </p:nvGrpSpPr>
        <p:grpSpPr>
          <a:xfrm>
            <a:off x="514166" y="26942"/>
            <a:ext cx="7121564" cy="6858000"/>
            <a:chOff x="0" y="0"/>
            <a:chExt cx="6864858" cy="6858000"/>
          </a:xfrm>
          <a:solidFill>
            <a:schemeClr val="tx2">
              <a:lumMod val="40000"/>
              <a:lumOff val="6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90CE32B-0EF3-684F-00C6-F763B645BFC3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8F380216-B8DB-90BF-2DC3-D862D0BD6982}"/>
                </a:ext>
              </a:extLst>
            </p:cNvPr>
            <p:cNvSpPr/>
            <p:nvPr/>
          </p:nvSpPr>
          <p:spPr bwMode="gray">
            <a:xfrm>
              <a:off x="6243066" y="819021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7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A9ECE21-941B-272B-8024-85553DDDA0DC}"/>
              </a:ext>
            </a:extLst>
          </p:cNvPr>
          <p:cNvGrpSpPr/>
          <p:nvPr/>
        </p:nvGrpSpPr>
        <p:grpSpPr>
          <a:xfrm>
            <a:off x="0" y="-2778"/>
            <a:ext cx="7314811" cy="6860778"/>
            <a:chOff x="0" y="-2778"/>
            <a:chExt cx="6824903" cy="6860778"/>
          </a:xfrm>
          <a:blipFill dpi="0" rotWithShape="1">
            <a:blip r:embed="rId4">
              <a:alphaModFix amt="6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2F89596-864E-F58E-6562-E2728A5E6606}"/>
                </a:ext>
              </a:extLst>
            </p:cNvPr>
            <p:cNvSpPr/>
            <p:nvPr/>
          </p:nvSpPr>
          <p:spPr bwMode="gray">
            <a:xfrm>
              <a:off x="0" y="0"/>
              <a:ext cx="630021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ZA" sz="16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1253C3C2-7067-1A23-A283-015B4AA55218}"/>
                </a:ext>
              </a:extLst>
            </p:cNvPr>
            <p:cNvSpPr/>
            <p:nvPr/>
          </p:nvSpPr>
          <p:spPr bwMode="gray">
            <a:xfrm>
              <a:off x="6203111" y="-2778"/>
              <a:ext cx="621792" cy="96012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en-US" sz="50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8</a:t>
              </a:r>
              <a:endParaRPr lang="en-ZA" sz="50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1E687048-2263-EC3B-896F-0CDD0B4C9FC9}"/>
              </a:ext>
            </a:extLst>
          </p:cNvPr>
          <p:cNvSpPr txBox="1"/>
          <p:nvPr/>
        </p:nvSpPr>
        <p:spPr bwMode="gray">
          <a:xfrm>
            <a:off x="363886" y="1057617"/>
            <a:ext cx="6168776" cy="384721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2500" b="1" dirty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IPS FOR TACKLING THE CASE STUDY</a:t>
            </a:r>
            <a:endParaRPr lang="en-ZA" sz="2500" b="1" dirty="0">
              <a:solidFill>
                <a:schemeClr val="tx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Graphic 4" descr="Lightbulb and gear with solid fill">
            <a:extLst>
              <a:ext uri="{FF2B5EF4-FFF2-40B4-BE49-F238E27FC236}">
                <a16:creationId xmlns:a16="http://schemas.microsoft.com/office/drawing/2014/main" id="{46740735-9E1D-33FD-1FC9-36EDA0B14D2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3072047" y="-15021"/>
            <a:ext cx="1059477" cy="1059477"/>
          </a:xfrm>
          <a:prstGeom prst="rect">
            <a:avLst/>
          </a:prstGeom>
        </p:spPr>
      </p:pic>
      <p:sp>
        <p:nvSpPr>
          <p:cNvPr id="23" name="Rectangle 3">
            <a:extLst>
              <a:ext uri="{FF2B5EF4-FFF2-40B4-BE49-F238E27FC236}">
                <a16:creationId xmlns:a16="http://schemas.microsoft.com/office/drawing/2014/main" id="{317441FC-23B1-4FF9-C0B4-A1EF8D4877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050" y="2451170"/>
            <a:ext cx="5566315" cy="338554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</a:schemeClr>
            </a:solidFill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en-US" sz="1400" b="1" dirty="0">
                <a:latin typeface="Arial" panose="020B0604020202020204" pitchFamily="34" charset="0"/>
              </a:rPr>
              <a:t>Be Practical.</a:t>
            </a:r>
            <a:br>
              <a:rPr lang="en-US" altLang="en-US" sz="1400" dirty="0">
                <a:latin typeface="Arial" panose="020B0604020202020204" pitchFamily="34" charset="0"/>
              </a:rPr>
            </a:br>
            <a:r>
              <a:rPr lang="en-US" altLang="en-US" sz="1400" dirty="0">
                <a:latin typeface="Arial" panose="020B0604020202020204" pitchFamily="34" charset="0"/>
              </a:rPr>
              <a:t>Real world data rarely meets textbook assumptions. This doesn’t mean you shouldn’t build a model, just be aware of the risks and limitations of imperfect data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en-US" altLang="en-US" sz="1400" dirty="0"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en-US" sz="1400" b="1" dirty="0">
                <a:latin typeface="Arial" panose="020B0604020202020204" pitchFamily="34" charset="0"/>
              </a:rPr>
              <a:t>Be Interpretive.</a:t>
            </a:r>
            <a:br>
              <a:rPr lang="en-US" altLang="en-US" sz="1400" dirty="0">
                <a:latin typeface="Arial" panose="020B0604020202020204" pitchFamily="34" charset="0"/>
              </a:rPr>
            </a:br>
            <a:r>
              <a:rPr lang="en-US" altLang="en-US" sz="1400" dirty="0">
                <a:latin typeface="Arial" panose="020B0604020202020204" pitchFamily="34" charset="0"/>
              </a:rPr>
              <a:t>All models are imperfect. If you favor a particular model, clearly justify why. Informed intuition can be valuable and shouldn’t be dismissed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en-US" altLang="en-US" sz="1400" dirty="0"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en-US" sz="1400" b="1" dirty="0">
                <a:latin typeface="Arial" panose="020B0604020202020204" pitchFamily="34" charset="0"/>
              </a:rPr>
              <a:t>Know When Not to Model.</a:t>
            </a:r>
            <a:br>
              <a:rPr lang="en-US" altLang="en-US" sz="1400" dirty="0">
                <a:latin typeface="Arial" panose="020B0604020202020204" pitchFamily="34" charset="0"/>
              </a:rPr>
            </a:br>
            <a:r>
              <a:rPr lang="en-US" altLang="en-US" sz="1400" dirty="0">
                <a:latin typeface="Arial" panose="020B0604020202020204" pitchFamily="34" charset="0"/>
              </a:rPr>
              <a:t>Sometimes, the best conclusion is that a model isn’t appropriate. If performance is poor or data quality is insufficient, document this but only after attempting to build a model first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074361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4000">
        <p159:morph option="byObject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5lJ3pjwP4SrVdhOznD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ITLE SLIDES">
  <a:themeElements>
    <a:clrScheme name="absa">
      <a:dk1>
        <a:srgbClr val="4D4D4D"/>
      </a:dk1>
      <a:lt1>
        <a:srgbClr val="FFFFFF"/>
      </a:lt1>
      <a:dk2>
        <a:srgbClr val="4D4D4D"/>
      </a:dk2>
      <a:lt2>
        <a:srgbClr val="FFFFFF"/>
      </a:lt2>
      <a:accent1>
        <a:srgbClr val="DC0032"/>
      </a:accent1>
      <a:accent2>
        <a:srgbClr val="FF780F"/>
      </a:accent2>
      <a:accent3>
        <a:srgbClr val="500A28"/>
      </a:accent3>
      <a:accent4>
        <a:srgbClr val="F05A78"/>
      </a:accent4>
      <a:accent5>
        <a:srgbClr val="870A3C"/>
      </a:accent5>
      <a:accent6>
        <a:srgbClr val="F52D28"/>
      </a:accent6>
      <a:hlink>
        <a:srgbClr val="DC0032"/>
      </a:hlink>
      <a:folHlink>
        <a:srgbClr val="4D4D4D"/>
      </a:folHlink>
    </a:clrScheme>
    <a:fontScheme name="Custom 2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>
      <a:srgbClr val="DC0032"/>
    </a:custClr>
    <a:custClr>
      <a:srgbClr val="F47721"/>
    </a:custClr>
    <a:custClr>
      <a:srgbClr val="500A28"/>
    </a:custClr>
    <a:custClr>
      <a:srgbClr val="F05A78"/>
    </a:custClr>
    <a:custClr>
      <a:srgbClr val="870A3C"/>
    </a:custClr>
    <a:custClr>
      <a:srgbClr val="F52D28"/>
    </a:custClr>
    <a:custClr>
      <a:srgbClr val="5A4B4B"/>
    </a:custClr>
    <a:custClr>
      <a:srgbClr val="F15726"/>
    </a:custClr>
    <a:custClr>
      <a:srgbClr val="AF144B"/>
    </a:custClr>
    <a:custClr>
      <a:srgbClr val="2D2323"/>
    </a:custClr>
    <a:custClr>
      <a:srgbClr val="BE0028"/>
    </a:custClr>
    <a:custClr>
      <a:srgbClr val="F0325A"/>
    </a:custClr>
    <a:custClr>
      <a:srgbClr val="640032"/>
    </a:custClr>
    <a:custClr>
      <a:srgbClr val="960528"/>
    </a:custClr>
    <a:custClr>
      <a:srgbClr val="2D2323"/>
    </a:custClr>
    <a:custClr>
      <a:srgbClr val="736464"/>
    </a:custClr>
    <a:custClr>
      <a:srgbClr val="4D4D4D"/>
    </a:custClr>
    <a:custClr>
      <a:srgbClr val="DC0032"/>
    </a:custClr>
    <a:custClr>
      <a:srgbClr val="F47721"/>
    </a:custClr>
    <a:custClr>
      <a:srgbClr val="72A309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0062AA"/>
    </a:custClr>
    <a:custClr>
      <a:srgbClr val="008864"/>
    </a:custClr>
    <a:custClr>
      <a:srgbClr val="698BBD"/>
    </a:custClr>
    <a:custClr>
      <a:srgbClr val="77368A"/>
    </a:custClr>
    <a:custClr>
      <a:srgbClr val="0E9E9E"/>
    </a:custClr>
    <a:custClr>
      <a:srgbClr val="00154D"/>
    </a:custClr>
    <a:custClr>
      <a:srgbClr val="4A2767"/>
    </a:custClr>
    <a:custClr>
      <a:srgbClr val="BB8C61"/>
    </a:custClr>
    <a:custClr>
      <a:srgbClr val="006241"/>
    </a:custClr>
    <a:custClr>
      <a:srgbClr val="015083"/>
    </a:custClr>
  </a:custClrLst>
</a:theme>
</file>

<file path=ppt/theme/theme2.xml><?xml version="1.0" encoding="utf-8"?>
<a:theme xmlns:a="http://schemas.openxmlformats.org/drawingml/2006/main" name="TITLE SLIDES">
  <a:themeElements>
    <a:clrScheme name="absa">
      <a:dk1>
        <a:srgbClr val="4D4D4D"/>
      </a:dk1>
      <a:lt1>
        <a:srgbClr val="FFFFFF"/>
      </a:lt1>
      <a:dk2>
        <a:srgbClr val="4D4D4D"/>
      </a:dk2>
      <a:lt2>
        <a:srgbClr val="FFFFFF"/>
      </a:lt2>
      <a:accent1>
        <a:srgbClr val="DC0032"/>
      </a:accent1>
      <a:accent2>
        <a:srgbClr val="FF780F"/>
      </a:accent2>
      <a:accent3>
        <a:srgbClr val="500A28"/>
      </a:accent3>
      <a:accent4>
        <a:srgbClr val="F05A78"/>
      </a:accent4>
      <a:accent5>
        <a:srgbClr val="870A3C"/>
      </a:accent5>
      <a:accent6>
        <a:srgbClr val="F52D28"/>
      </a:accent6>
      <a:hlink>
        <a:srgbClr val="DC0032"/>
      </a:hlink>
      <a:folHlink>
        <a:srgbClr val="4D4D4D"/>
      </a:folHlink>
    </a:clrScheme>
    <a:fontScheme name="Custom 2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>
      <a:srgbClr val="DC0032"/>
    </a:custClr>
    <a:custClr>
      <a:srgbClr val="F47721"/>
    </a:custClr>
    <a:custClr>
      <a:srgbClr val="500A28"/>
    </a:custClr>
    <a:custClr>
      <a:srgbClr val="F05A78"/>
    </a:custClr>
    <a:custClr>
      <a:srgbClr val="870A3C"/>
    </a:custClr>
    <a:custClr>
      <a:srgbClr val="F52D28"/>
    </a:custClr>
    <a:custClr>
      <a:srgbClr val="5A4B4B"/>
    </a:custClr>
    <a:custClr>
      <a:srgbClr val="F15726"/>
    </a:custClr>
    <a:custClr>
      <a:srgbClr val="AF144B"/>
    </a:custClr>
    <a:custClr>
      <a:srgbClr val="2D2323"/>
    </a:custClr>
    <a:custClr>
      <a:srgbClr val="BE0028"/>
    </a:custClr>
    <a:custClr>
      <a:srgbClr val="F0325A"/>
    </a:custClr>
    <a:custClr>
      <a:srgbClr val="640032"/>
    </a:custClr>
    <a:custClr>
      <a:srgbClr val="960528"/>
    </a:custClr>
    <a:custClr>
      <a:srgbClr val="2D2323"/>
    </a:custClr>
    <a:custClr>
      <a:srgbClr val="736464"/>
    </a:custClr>
    <a:custClr>
      <a:srgbClr val="4D4D4D"/>
    </a:custClr>
    <a:custClr>
      <a:srgbClr val="DC0032"/>
    </a:custClr>
    <a:custClr>
      <a:srgbClr val="F47721"/>
    </a:custClr>
    <a:custClr>
      <a:srgbClr val="72A309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0062AA"/>
    </a:custClr>
    <a:custClr>
      <a:srgbClr val="008864"/>
    </a:custClr>
    <a:custClr>
      <a:srgbClr val="698BBD"/>
    </a:custClr>
    <a:custClr>
      <a:srgbClr val="77368A"/>
    </a:custClr>
    <a:custClr>
      <a:srgbClr val="0E9E9E"/>
    </a:custClr>
    <a:custClr>
      <a:srgbClr val="00154D"/>
    </a:custClr>
    <a:custClr>
      <a:srgbClr val="4A2767"/>
    </a:custClr>
    <a:custClr>
      <a:srgbClr val="BB8C61"/>
    </a:custClr>
    <a:custClr>
      <a:srgbClr val="006241"/>
    </a:custClr>
    <a:custClr>
      <a:srgbClr val="015083"/>
    </a:custClr>
  </a:custClrLst>
</a:theme>
</file>

<file path=ppt/theme/theme3.xml><?xml version="1.0" encoding="utf-8"?>
<a:theme xmlns:a="http://schemas.openxmlformats.org/drawingml/2006/main" name="5_CONTENT SLIDES">
  <a:themeElements>
    <a:clrScheme name="absa">
      <a:dk1>
        <a:srgbClr val="4D4D4D"/>
      </a:dk1>
      <a:lt1>
        <a:srgbClr val="FFFFFF"/>
      </a:lt1>
      <a:dk2>
        <a:srgbClr val="4D4D4D"/>
      </a:dk2>
      <a:lt2>
        <a:srgbClr val="FFFFFF"/>
      </a:lt2>
      <a:accent1>
        <a:srgbClr val="DC0032"/>
      </a:accent1>
      <a:accent2>
        <a:srgbClr val="FF780F"/>
      </a:accent2>
      <a:accent3>
        <a:srgbClr val="500A28"/>
      </a:accent3>
      <a:accent4>
        <a:srgbClr val="F05A78"/>
      </a:accent4>
      <a:accent5>
        <a:srgbClr val="870A3C"/>
      </a:accent5>
      <a:accent6>
        <a:srgbClr val="F52D28"/>
      </a:accent6>
      <a:hlink>
        <a:srgbClr val="DC0032"/>
      </a:hlink>
      <a:folHlink>
        <a:srgbClr val="4D4D4D"/>
      </a:folHlink>
    </a:clrScheme>
    <a:fontScheme name="Custom 2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bg1"/>
            </a:solidFill>
            <a:latin typeface="+mj-lt"/>
            <a:cs typeface="Brave Sans" panose="020B0504020101010102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algn="l">
          <a:spcBef>
            <a:spcPts val="0"/>
          </a:spcBef>
          <a:defRPr sz="1600" dirty="0" smtClean="0">
            <a:latin typeface="+mn-lt"/>
            <a:cs typeface="Arial" pitchFamily="34" charset="0"/>
          </a:defRPr>
        </a:defPPr>
      </a:lstStyle>
    </a:txDef>
  </a:objectDefaults>
  <a:extraClrSchemeLst/>
  <a:custClrLst>
    <a:custClr>
      <a:srgbClr val="DC0032"/>
    </a:custClr>
    <a:custClr>
      <a:srgbClr val="F47721"/>
    </a:custClr>
    <a:custClr>
      <a:srgbClr val="500A28"/>
    </a:custClr>
    <a:custClr>
      <a:srgbClr val="F05A78"/>
    </a:custClr>
    <a:custClr>
      <a:srgbClr val="870A3C"/>
    </a:custClr>
    <a:custClr>
      <a:srgbClr val="F52D28"/>
    </a:custClr>
    <a:custClr>
      <a:srgbClr val="5A4B4B"/>
    </a:custClr>
    <a:custClr>
      <a:srgbClr val="F15726"/>
    </a:custClr>
    <a:custClr>
      <a:srgbClr val="AF144B"/>
    </a:custClr>
    <a:custClr>
      <a:srgbClr val="2D2323"/>
    </a:custClr>
    <a:custClr>
      <a:srgbClr val="BE0028"/>
    </a:custClr>
    <a:custClr>
      <a:srgbClr val="F0325A"/>
    </a:custClr>
    <a:custClr>
      <a:srgbClr val="640032"/>
    </a:custClr>
    <a:custClr>
      <a:srgbClr val="960528"/>
    </a:custClr>
    <a:custClr>
      <a:srgbClr val="2D2323"/>
    </a:custClr>
    <a:custClr>
      <a:srgbClr val="736464"/>
    </a:custClr>
    <a:custClr>
      <a:srgbClr val="4D4D4D"/>
    </a:custClr>
    <a:custClr>
      <a:srgbClr val="DC0032"/>
    </a:custClr>
    <a:custClr>
      <a:srgbClr val="F47721"/>
    </a:custClr>
    <a:custClr>
      <a:srgbClr val="72A309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0062AA"/>
    </a:custClr>
    <a:custClr>
      <a:srgbClr val="008864"/>
    </a:custClr>
    <a:custClr>
      <a:srgbClr val="698BBD"/>
    </a:custClr>
    <a:custClr>
      <a:srgbClr val="77368A"/>
    </a:custClr>
    <a:custClr>
      <a:srgbClr val="0E9E9E"/>
    </a:custClr>
    <a:custClr>
      <a:srgbClr val="00154D"/>
    </a:custClr>
    <a:custClr>
      <a:srgbClr val="4A2767"/>
    </a:custClr>
    <a:custClr>
      <a:srgbClr val="BB8C61"/>
    </a:custClr>
    <a:custClr>
      <a:srgbClr val="006241"/>
    </a:custClr>
    <a:custClr>
      <a:srgbClr val="015083"/>
    </a:custClr>
  </a:custClr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d78e1de-c411-4830-b453-ae2b2957e43b" xsi:nil="true"/>
    <lcf76f155ced4ddcb4097134ff3c332f xmlns="b853244e-7603-4783-a498-be4ca8876b13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57983235A7B0C4E9DAF059E52CA6312" ma:contentTypeVersion="19" ma:contentTypeDescription="Create a new document." ma:contentTypeScope="" ma:versionID="2cf98ac3b7f3ae2e1f6ab12717d1c93c">
  <xsd:schema xmlns:xsd="http://www.w3.org/2001/XMLSchema" xmlns:xs="http://www.w3.org/2001/XMLSchema" xmlns:p="http://schemas.microsoft.com/office/2006/metadata/properties" xmlns:ns2="b853244e-7603-4783-a498-be4ca8876b13" xmlns:ns3="8d78e1de-c411-4830-b453-ae2b2957e43b" targetNamespace="http://schemas.microsoft.com/office/2006/metadata/properties" ma:root="true" ma:fieldsID="543786627d888f8db4e52ecfcdb978a8" ns2:_="" ns3:_="">
    <xsd:import namespace="b853244e-7603-4783-a498-be4ca8876b13"/>
    <xsd:import namespace="8d78e1de-c411-4830-b453-ae2b2957e43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3244e-7603-4783-a498-be4ca8876b1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56756f9-18f5-4fe6-86e3-093d9026774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78e1de-c411-4830-b453-ae2b2957e43b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096f1b74-75e8-4132-98e8-2ffdda0eda77}" ma:internalName="TaxCatchAll" ma:showField="CatchAllData" ma:web="8d78e1de-c411-4830-b453-ae2b2957e43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45D1BAC-A41E-4747-A04F-DA31DA548DE8}">
  <ds:schemaRefs>
    <ds:schemaRef ds:uri="1878230a-6da2-4c59-aa33-fe6270d2093a"/>
    <ds:schemaRef ds:uri="a88be954-628a-4d33-a6dc-6e52e0224e2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3CC2E79-333E-4AA0-AC81-6ACA51DC853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751BC68-B105-467C-8FEA-307527ECD180}"/>
</file>

<file path=docProps/app.xml><?xml version="1.0" encoding="utf-8"?>
<Properties xmlns="http://schemas.openxmlformats.org/officeDocument/2006/extended-properties" xmlns:vt="http://schemas.openxmlformats.org/officeDocument/2006/docPropsVTypes">
  <TotalTime>1549</TotalTime>
  <Words>702</Words>
  <Application>Microsoft Office PowerPoint</Application>
  <PresentationFormat>Widescreen</PresentationFormat>
  <Paragraphs>152</Paragraphs>
  <Slides>10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Calibri</vt:lpstr>
      <vt:lpstr>Courier New</vt:lpstr>
      <vt:lpstr>Segoe UI</vt:lpstr>
      <vt:lpstr>Symbol</vt:lpstr>
      <vt:lpstr>1_TITLE SLIDES</vt:lpstr>
      <vt:lpstr>TITLE SLIDES</vt:lpstr>
      <vt:lpstr>5_CONTENT SLIDES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Barclays Afric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lent Management Working Session</dc:title>
  <dc:creator>Thokozile Lewanika Mpupuni (ZA)</dc:creator>
  <cp:lastModifiedBy>Chioma Okechukwu (ZA)</cp:lastModifiedBy>
  <cp:revision>7</cp:revision>
  <dcterms:created xsi:type="dcterms:W3CDTF">2018-10-10T17:30:20Z</dcterms:created>
  <dcterms:modified xsi:type="dcterms:W3CDTF">2026-01-22T09:32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4265b89b-13f1-46ac-b8eb-53bf8ace2c6e</vt:lpwstr>
  </property>
  <property fmtid="{D5CDD505-2E9C-101B-9397-08002B2CF9AE}" pid="3" name="TitusContentScanMode">
    <vt:lpwstr>TitusContentScanModeAutomatic</vt:lpwstr>
  </property>
  <property fmtid="{D5CDD505-2E9C-101B-9397-08002B2CF9AE}" pid="4" name="TitusClassification">
    <vt:lpwstr>TitusRestricted</vt:lpwstr>
  </property>
  <property fmtid="{D5CDD505-2E9C-101B-9397-08002B2CF9AE}" pid="5" name="ContentTypeId">
    <vt:lpwstr>0x010100757983235A7B0C4E9DAF059E52CA6312</vt:lpwstr>
  </property>
  <property fmtid="{D5CDD505-2E9C-101B-9397-08002B2CF9AE}" pid="6" name="TitusGDPR">
    <vt:lpwstr>TitusGDPRNo</vt:lpwstr>
  </property>
  <property fmtid="{D5CDD505-2E9C-101B-9397-08002B2CF9AE}" pid="7" name="TitusPCI">
    <vt:lpwstr>TitusPCINo</vt:lpwstr>
  </property>
  <property fmtid="{D5CDD505-2E9C-101B-9397-08002B2CF9AE}" pid="8" name="TitusPOPI">
    <vt:lpwstr>TitusPOPINo</vt:lpwstr>
  </property>
  <property fmtid="{D5CDD505-2E9C-101B-9397-08002B2CF9AE}" pid="9" name="TitusPOPISpecial">
    <vt:lpwstr>TitusPOPISpecialNo</vt:lpwstr>
  </property>
  <property fmtid="{D5CDD505-2E9C-101B-9397-08002B2CF9AE}" pid="10" name="MSIP_Label_e5b93d1f-0ad4-4957-b824-94d94a84c1c8_Enabled">
    <vt:lpwstr>true</vt:lpwstr>
  </property>
  <property fmtid="{D5CDD505-2E9C-101B-9397-08002B2CF9AE}" pid="11" name="MSIP_Label_e5b93d1f-0ad4-4957-b824-94d94a84c1c8_SetDate">
    <vt:lpwstr>2026-01-21T05:27:35Z</vt:lpwstr>
  </property>
  <property fmtid="{D5CDD505-2E9C-101B-9397-08002B2CF9AE}" pid="12" name="MSIP_Label_e5b93d1f-0ad4-4957-b824-94d94a84c1c8_Method">
    <vt:lpwstr>Standard</vt:lpwstr>
  </property>
  <property fmtid="{D5CDD505-2E9C-101B-9397-08002B2CF9AE}" pid="13" name="MSIP_Label_e5b93d1f-0ad4-4957-b824-94d94a84c1c8_Name">
    <vt:lpwstr>Internal Only</vt:lpwstr>
  </property>
  <property fmtid="{D5CDD505-2E9C-101B-9397-08002B2CF9AE}" pid="14" name="MSIP_Label_e5b93d1f-0ad4-4957-b824-94d94a84c1c8_SiteId">
    <vt:lpwstr>5be1f46d-495f-465b-9507-996e8c8cdcb6</vt:lpwstr>
  </property>
  <property fmtid="{D5CDD505-2E9C-101B-9397-08002B2CF9AE}" pid="15" name="MSIP_Label_e5b93d1f-0ad4-4957-b824-94d94a84c1c8_ActionId">
    <vt:lpwstr>a7ef307c-3a40-4f89-af4b-1794d21c6461</vt:lpwstr>
  </property>
  <property fmtid="{D5CDD505-2E9C-101B-9397-08002B2CF9AE}" pid="16" name="MSIP_Label_e5b93d1f-0ad4-4957-b824-94d94a84c1c8_ContentBits">
    <vt:lpwstr>0</vt:lpwstr>
  </property>
  <property fmtid="{D5CDD505-2E9C-101B-9397-08002B2CF9AE}" pid="17" name="MSIP_Label_e5b93d1f-0ad4-4957-b824-94d94a84c1c8_Tag">
    <vt:lpwstr>10, 3, 0, 1</vt:lpwstr>
  </property>
</Properties>
</file>